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65" r:id="rId2"/>
  </p:sldMasterIdLst>
  <p:notesMasterIdLst>
    <p:notesMasterId r:id="rId7"/>
  </p:notesMasterIdLst>
  <p:sldIdLst>
    <p:sldId id="256" r:id="rId3"/>
    <p:sldId id="257" r:id="rId4"/>
    <p:sldId id="258" r:id="rId5"/>
    <p:sldId id="259" r:id="rId6"/>
  </p:sldIdLst>
  <p:sldSz cx="9001125" cy="5040313"/>
  <p:notesSz cx="6858000" cy="9144000"/>
  <p:custDataLst>
    <p:tags r:id="rId8"/>
  </p:custDataLst>
  <p:defaultTextStyle>
    <a:defPPr>
      <a:defRPr lang="zh-CN"/>
    </a:defPPr>
    <a:lvl1pPr marL="0" algn="l" defTabSz="80229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01147" algn="l" defTabSz="80229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802295" algn="l" defTabSz="80229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203442" algn="l" defTabSz="80229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604589" algn="l" defTabSz="80229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005736" algn="l" defTabSz="80229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406884" algn="l" defTabSz="80229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808031" algn="l" defTabSz="80229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209178" algn="l" defTabSz="80229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88">
          <p15:clr>
            <a:srgbClr val="A4A3A4"/>
          </p15:clr>
        </p15:guide>
        <p15:guide id="2" pos="283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384F"/>
    <a:srgbClr val="00B0F0"/>
    <a:srgbClr val="007FAF"/>
    <a:srgbClr val="D30F4B"/>
    <a:srgbClr val="6FD8FD"/>
    <a:srgbClr val="03B2F2"/>
    <a:srgbClr val="039D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FA684E-E8CC-44EB-9090-1D6E01135ABA}" v="2" dt="2023-07-13T18:50:35.6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Estilo Médio 3 - Ênfas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364" autoAdjust="0"/>
    <p:restoredTop sz="88424" autoAdjust="0"/>
  </p:normalViewPr>
  <p:slideViewPr>
    <p:cSldViewPr>
      <p:cViewPr varScale="1">
        <p:scale>
          <a:sx n="86" d="100"/>
          <a:sy n="86" d="100"/>
        </p:scale>
        <p:origin x="804" y="84"/>
      </p:cViewPr>
      <p:guideLst>
        <p:guide orient="horz" pos="1588"/>
        <p:guide pos="283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co Soares" userId="d0da0a5a-bb2d-4628-9140-122d0f91b28a" providerId="ADAL" clId="{DE1D7259-EAA4-44F5-878A-0D80DBEF94A3}"/>
    <pc:docChg chg="undo redo custSel modSld">
      <pc:chgData name="Marco Soares" userId="d0da0a5a-bb2d-4628-9140-122d0f91b28a" providerId="ADAL" clId="{DE1D7259-EAA4-44F5-878A-0D80DBEF94A3}" dt="2022-08-22T20:53:52.166" v="1026" actId="113"/>
      <pc:docMkLst>
        <pc:docMk/>
      </pc:docMkLst>
      <pc:sldChg chg="delSp modSp mod">
        <pc:chgData name="Marco Soares" userId="d0da0a5a-bb2d-4628-9140-122d0f91b28a" providerId="ADAL" clId="{DE1D7259-EAA4-44F5-878A-0D80DBEF94A3}" dt="2022-08-22T17:00:11.115" v="48" actId="14100"/>
        <pc:sldMkLst>
          <pc:docMk/>
          <pc:sldMk cId="1186067058" sldId="258"/>
        </pc:sldMkLst>
        <pc:spChg chg="mod">
          <ac:chgData name="Marco Soares" userId="d0da0a5a-bb2d-4628-9140-122d0f91b28a" providerId="ADAL" clId="{DE1D7259-EAA4-44F5-878A-0D80DBEF94A3}" dt="2022-08-22T16:59:51.832" v="42" actId="1076"/>
          <ac:spMkLst>
            <pc:docMk/>
            <pc:sldMk cId="1186067058" sldId="258"/>
            <ac:spMk id="2" creationId="{4578F281-45D0-4205-B08E-FBEDBCDB3705}"/>
          </ac:spMkLst>
        </pc:spChg>
        <pc:spChg chg="del mod">
          <ac:chgData name="Marco Soares" userId="d0da0a5a-bb2d-4628-9140-122d0f91b28a" providerId="ADAL" clId="{DE1D7259-EAA4-44F5-878A-0D80DBEF94A3}" dt="2022-08-22T16:59:33.451" v="36" actId="478"/>
          <ac:spMkLst>
            <pc:docMk/>
            <pc:sldMk cId="1186067058" sldId="258"/>
            <ac:spMk id="3" creationId="{1E422AF0-16C0-4997-A4AC-20BD58A7492C}"/>
          </ac:spMkLst>
        </pc:spChg>
        <pc:spChg chg="mod">
          <ac:chgData name="Marco Soares" userId="d0da0a5a-bb2d-4628-9140-122d0f91b28a" providerId="ADAL" clId="{DE1D7259-EAA4-44F5-878A-0D80DBEF94A3}" dt="2022-08-22T17:00:11.115" v="48" actId="14100"/>
          <ac:spMkLst>
            <pc:docMk/>
            <pc:sldMk cId="1186067058" sldId="258"/>
            <ac:spMk id="5" creationId="{59940234-0F9B-42EC-8134-F7360116C603}"/>
          </ac:spMkLst>
        </pc:spChg>
        <pc:spChg chg="del">
          <ac:chgData name="Marco Soares" userId="d0da0a5a-bb2d-4628-9140-122d0f91b28a" providerId="ADAL" clId="{DE1D7259-EAA4-44F5-878A-0D80DBEF94A3}" dt="2022-08-22T16:59:28.799" v="35" actId="478"/>
          <ac:spMkLst>
            <pc:docMk/>
            <pc:sldMk cId="1186067058" sldId="258"/>
            <ac:spMk id="12" creationId="{72CB4501-AE8E-46C9-9430-6CB2F1F5B04E}"/>
          </ac:spMkLst>
        </pc:spChg>
        <pc:spChg chg="del mod">
          <ac:chgData name="Marco Soares" userId="d0da0a5a-bb2d-4628-9140-122d0f91b28a" providerId="ADAL" clId="{DE1D7259-EAA4-44F5-878A-0D80DBEF94A3}" dt="2022-08-22T16:59:44.868" v="40"/>
          <ac:spMkLst>
            <pc:docMk/>
            <pc:sldMk cId="1186067058" sldId="258"/>
            <ac:spMk id="13" creationId="{37F004CD-C56A-4E6B-B10B-48CEFD98D1AD}"/>
          </ac:spMkLst>
        </pc:spChg>
      </pc:sldChg>
      <pc:sldChg chg="delSp modSp mod">
        <pc:chgData name="Marco Soares" userId="d0da0a5a-bb2d-4628-9140-122d0f91b28a" providerId="ADAL" clId="{DE1D7259-EAA4-44F5-878A-0D80DBEF94A3}" dt="2022-08-22T17:24:18.211" v="373" actId="20577"/>
        <pc:sldMkLst>
          <pc:docMk/>
          <pc:sldMk cId="992292059" sldId="259"/>
        </pc:sldMkLst>
        <pc:spChg chg="mod">
          <ac:chgData name="Marco Soares" userId="d0da0a5a-bb2d-4628-9140-122d0f91b28a" providerId="ADAL" clId="{DE1D7259-EAA4-44F5-878A-0D80DBEF94A3}" dt="2022-08-22T17:24:18.211" v="373" actId="20577"/>
          <ac:spMkLst>
            <pc:docMk/>
            <pc:sldMk cId="992292059" sldId="259"/>
            <ac:spMk id="2" creationId="{262EEA97-05F5-4FDA-A31F-242D0341CC9A}"/>
          </ac:spMkLst>
        </pc:spChg>
        <pc:spChg chg="del mod">
          <ac:chgData name="Marco Soares" userId="d0da0a5a-bb2d-4628-9140-122d0f91b28a" providerId="ADAL" clId="{DE1D7259-EAA4-44F5-878A-0D80DBEF94A3}" dt="2022-08-22T17:23:24.614" v="317"/>
          <ac:spMkLst>
            <pc:docMk/>
            <pc:sldMk cId="992292059" sldId="259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17:23:23.020" v="315" actId="20577"/>
          <ac:spMkLst>
            <pc:docMk/>
            <pc:sldMk cId="992292059" sldId="259"/>
            <ac:spMk id="7" creationId="{E24B498C-5E0A-446E-8197-DB3DB836AD49}"/>
          </ac:spMkLst>
        </pc:spChg>
        <pc:spChg chg="del">
          <ac:chgData name="Marco Soares" userId="d0da0a5a-bb2d-4628-9140-122d0f91b28a" providerId="ADAL" clId="{DE1D7259-EAA4-44F5-878A-0D80DBEF94A3}" dt="2022-08-22T17:22:52.014" v="309" actId="478"/>
          <ac:spMkLst>
            <pc:docMk/>
            <pc:sldMk cId="992292059" sldId="259"/>
            <ac:spMk id="8" creationId="{A117EFF7-F1A9-4A7C-8B58-67B9128E8774}"/>
          </ac:spMkLst>
        </pc:spChg>
        <pc:spChg chg="del">
          <ac:chgData name="Marco Soares" userId="d0da0a5a-bb2d-4628-9140-122d0f91b28a" providerId="ADAL" clId="{DE1D7259-EAA4-44F5-878A-0D80DBEF94A3}" dt="2022-08-22T17:23:06.613" v="310" actId="478"/>
          <ac:spMkLst>
            <pc:docMk/>
            <pc:sldMk cId="992292059" sldId="259"/>
            <ac:spMk id="12" creationId="{72CB4501-AE8E-46C9-9430-6CB2F1F5B04E}"/>
          </ac:spMkLst>
        </pc:spChg>
      </pc:sldChg>
      <pc:sldChg chg="delSp modSp mod">
        <pc:chgData name="Marco Soares" userId="d0da0a5a-bb2d-4628-9140-122d0f91b28a" providerId="ADAL" clId="{DE1D7259-EAA4-44F5-878A-0D80DBEF94A3}" dt="2022-08-22T20:02:34.887" v="871" actId="1076"/>
        <pc:sldMkLst>
          <pc:docMk/>
          <pc:sldMk cId="2748664132" sldId="263"/>
        </pc:sldMkLst>
        <pc:spChg chg="mod">
          <ac:chgData name="Marco Soares" userId="d0da0a5a-bb2d-4628-9140-122d0f91b28a" providerId="ADAL" clId="{DE1D7259-EAA4-44F5-878A-0D80DBEF94A3}" dt="2022-08-22T20:02:34.887" v="871" actId="1076"/>
          <ac:spMkLst>
            <pc:docMk/>
            <pc:sldMk cId="2748664132" sldId="263"/>
            <ac:spMk id="2" creationId="{533D6099-C9C9-42ED-AFF8-27D711BC2D38}"/>
          </ac:spMkLst>
        </pc:spChg>
        <pc:spChg chg="del">
          <ac:chgData name="Marco Soares" userId="d0da0a5a-bb2d-4628-9140-122d0f91b28a" providerId="ADAL" clId="{DE1D7259-EAA4-44F5-878A-0D80DBEF94A3}" dt="2022-08-22T20:01:43.428" v="863" actId="478"/>
          <ac:spMkLst>
            <pc:docMk/>
            <pc:sldMk cId="2748664132" sldId="263"/>
            <ac:spMk id="3" creationId="{82AA0193-4F87-4066-AFCF-BD50C69A27B4}"/>
          </ac:spMkLst>
        </pc:spChg>
        <pc:spChg chg="del">
          <ac:chgData name="Marco Soares" userId="d0da0a5a-bb2d-4628-9140-122d0f91b28a" providerId="ADAL" clId="{DE1D7259-EAA4-44F5-878A-0D80DBEF94A3}" dt="2022-08-22T18:38:20.812" v="582" actId="478"/>
          <ac:spMkLst>
            <pc:docMk/>
            <pc:sldMk cId="2748664132" sldId="263"/>
            <ac:spMk id="5" creationId="{4ED15BE5-4813-4332-B9FD-E18DE553437B}"/>
          </ac:spMkLst>
        </pc:spChg>
        <pc:spChg chg="mod">
          <ac:chgData name="Marco Soares" userId="d0da0a5a-bb2d-4628-9140-122d0f91b28a" providerId="ADAL" clId="{DE1D7259-EAA4-44F5-878A-0D80DBEF94A3}" dt="2022-08-22T20:02:20.086" v="868" actId="1076"/>
          <ac:spMkLst>
            <pc:docMk/>
            <pc:sldMk cId="2748664132" sldId="263"/>
            <ac:spMk id="6" creationId="{14356851-B618-450E-9945-1243A30E31CC}"/>
          </ac:spMkLst>
        </pc:spChg>
        <pc:spChg chg="del mod">
          <ac:chgData name="Marco Soares" userId="d0da0a5a-bb2d-4628-9140-122d0f91b28a" providerId="ADAL" clId="{DE1D7259-EAA4-44F5-878A-0D80DBEF94A3}" dt="2022-08-22T17:21:15.621" v="282" actId="478"/>
          <ac:spMkLst>
            <pc:docMk/>
            <pc:sldMk cId="2748664132" sldId="263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21:02.540" v="280" actId="478"/>
          <ac:picMkLst>
            <pc:docMk/>
            <pc:sldMk cId="2748664132" sldId="263"/>
            <ac:picMk id="7" creationId="{9DCD33F2-BC8C-4E19-B2ED-55C13BD5C8DA}"/>
          </ac:picMkLst>
        </pc:picChg>
      </pc:sldChg>
      <pc:sldChg chg="modSp mod">
        <pc:chgData name="Marco Soares" userId="d0da0a5a-bb2d-4628-9140-122d0f91b28a" providerId="ADAL" clId="{DE1D7259-EAA4-44F5-878A-0D80DBEF94A3}" dt="2022-08-22T17:22:35.612" v="308" actId="20577"/>
        <pc:sldMkLst>
          <pc:docMk/>
          <pc:sldMk cId="915925481" sldId="264"/>
        </pc:sldMkLst>
        <pc:spChg chg="mod">
          <ac:chgData name="Marco Soares" userId="d0da0a5a-bb2d-4628-9140-122d0f91b28a" providerId="ADAL" clId="{DE1D7259-EAA4-44F5-878A-0D80DBEF94A3}" dt="2022-08-22T17:22:35.612" v="308" actId="20577"/>
          <ac:spMkLst>
            <pc:docMk/>
            <pc:sldMk cId="915925481" sldId="264"/>
            <ac:spMk id="11" creationId="{D2F5E65A-2DBE-437D-96A6-B26307B0CD1B}"/>
          </ac:spMkLst>
        </pc:spChg>
      </pc:sldChg>
      <pc:sldChg chg="delSp modSp mod">
        <pc:chgData name="Marco Soares" userId="d0da0a5a-bb2d-4628-9140-122d0f91b28a" providerId="ADAL" clId="{DE1D7259-EAA4-44F5-878A-0D80DBEF94A3}" dt="2022-08-22T17:02:02.332" v="69" actId="1076"/>
        <pc:sldMkLst>
          <pc:docMk/>
          <pc:sldMk cId="357679138" sldId="274"/>
        </pc:sldMkLst>
        <pc:spChg chg="mod">
          <ac:chgData name="Marco Soares" userId="d0da0a5a-bb2d-4628-9140-122d0f91b28a" providerId="ADAL" clId="{DE1D7259-EAA4-44F5-878A-0D80DBEF94A3}" dt="2022-08-22T17:00:49.840" v="55"/>
          <ac:spMkLst>
            <pc:docMk/>
            <pc:sldMk cId="357679138" sldId="274"/>
            <ac:spMk id="2" creationId="{42C25B5E-F9B4-448C-8EAF-BD8E641154E8}"/>
          </ac:spMkLst>
        </pc:spChg>
        <pc:spChg chg="del">
          <ac:chgData name="Marco Soares" userId="d0da0a5a-bb2d-4628-9140-122d0f91b28a" providerId="ADAL" clId="{DE1D7259-EAA4-44F5-878A-0D80DBEF94A3}" dt="2022-08-22T17:01:15.321" v="59" actId="478"/>
          <ac:spMkLst>
            <pc:docMk/>
            <pc:sldMk cId="357679138" sldId="274"/>
            <ac:spMk id="3" creationId="{8500445B-5315-4187-BD7B-3ED752A7B94F}"/>
          </ac:spMkLst>
        </pc:spChg>
        <pc:spChg chg="mod">
          <ac:chgData name="Marco Soares" userId="d0da0a5a-bb2d-4628-9140-122d0f91b28a" providerId="ADAL" clId="{DE1D7259-EAA4-44F5-878A-0D80DBEF94A3}" dt="2022-08-22T17:01:43.627" v="66" actId="14100"/>
          <ac:spMkLst>
            <pc:docMk/>
            <pc:sldMk cId="357679138" sldId="274"/>
            <ac:spMk id="5" creationId="{33917629-543A-491E-8314-9F0055CC941F}"/>
          </ac:spMkLst>
        </pc:spChg>
        <pc:spChg chg="del mod">
          <ac:chgData name="Marco Soares" userId="d0da0a5a-bb2d-4628-9140-122d0f91b28a" providerId="ADAL" clId="{DE1D7259-EAA4-44F5-878A-0D80DBEF94A3}" dt="2022-08-22T17:01:10.845" v="58" actId="478"/>
          <ac:spMkLst>
            <pc:docMk/>
            <pc:sldMk cId="357679138" sldId="274"/>
            <ac:spMk id="6" creationId="{586B2C00-5802-4710-BA94-2A4BF62B49C3}"/>
          </ac:spMkLst>
        </pc:spChg>
        <pc:spChg chg="del mod">
          <ac:chgData name="Marco Soares" userId="d0da0a5a-bb2d-4628-9140-122d0f91b28a" providerId="ADAL" clId="{DE1D7259-EAA4-44F5-878A-0D80DBEF94A3}" dt="2022-08-22T17:00:55.495" v="56" actId="478"/>
          <ac:spMkLst>
            <pc:docMk/>
            <pc:sldMk cId="357679138" sldId="274"/>
            <ac:spMk id="12" creationId="{72CB4501-AE8E-46C9-9430-6CB2F1F5B04E}"/>
          </ac:spMkLst>
        </pc:spChg>
        <pc:picChg chg="mod">
          <ac:chgData name="Marco Soares" userId="d0da0a5a-bb2d-4628-9140-122d0f91b28a" providerId="ADAL" clId="{DE1D7259-EAA4-44F5-878A-0D80DBEF94A3}" dt="2022-08-22T17:01:53.355" v="67" actId="1076"/>
          <ac:picMkLst>
            <pc:docMk/>
            <pc:sldMk cId="357679138" sldId="274"/>
            <ac:picMk id="7" creationId="{50D890C3-001C-86A7-E01F-B6AB7AD2BF7D}"/>
          </ac:picMkLst>
        </pc:picChg>
        <pc:picChg chg="mod">
          <ac:chgData name="Marco Soares" userId="d0da0a5a-bb2d-4628-9140-122d0f91b28a" providerId="ADAL" clId="{DE1D7259-EAA4-44F5-878A-0D80DBEF94A3}" dt="2022-08-22T17:01:56.140" v="68" actId="1076"/>
          <ac:picMkLst>
            <pc:docMk/>
            <pc:sldMk cId="357679138" sldId="274"/>
            <ac:picMk id="9" creationId="{F6DB3483-30E7-D445-0CDE-5C16D6D437ED}"/>
          </ac:picMkLst>
        </pc:picChg>
        <pc:picChg chg="mod">
          <ac:chgData name="Marco Soares" userId="d0da0a5a-bb2d-4628-9140-122d0f91b28a" providerId="ADAL" clId="{DE1D7259-EAA4-44F5-878A-0D80DBEF94A3}" dt="2022-08-22T17:02:02.332" v="69" actId="1076"/>
          <ac:picMkLst>
            <pc:docMk/>
            <pc:sldMk cId="357679138" sldId="274"/>
            <ac:picMk id="13" creationId="{82DC6677-6FB9-19E1-D38C-B36B5CF2D6C8}"/>
          </ac:picMkLst>
        </pc:picChg>
      </pc:sldChg>
      <pc:sldChg chg="addSp delSp modSp mod">
        <pc:chgData name="Marco Soares" userId="d0da0a5a-bb2d-4628-9140-122d0f91b28a" providerId="ADAL" clId="{DE1D7259-EAA4-44F5-878A-0D80DBEF94A3}" dt="2022-08-22T17:35:50.806" v="445" actId="1076"/>
        <pc:sldMkLst>
          <pc:docMk/>
          <pc:sldMk cId="3399383844" sldId="275"/>
        </pc:sldMkLst>
        <pc:spChg chg="mod">
          <ac:chgData name="Marco Soares" userId="d0da0a5a-bb2d-4628-9140-122d0f91b28a" providerId="ADAL" clId="{DE1D7259-EAA4-44F5-878A-0D80DBEF94A3}" dt="2022-08-22T17:02:26.283" v="71" actId="207"/>
          <ac:spMkLst>
            <pc:docMk/>
            <pc:sldMk cId="3399383844" sldId="275"/>
            <ac:spMk id="4" creationId="{00000000-0000-0000-0000-000000000000}"/>
          </ac:spMkLst>
        </pc:spChg>
        <pc:spChg chg="add del mod">
          <ac:chgData name="Marco Soares" userId="d0da0a5a-bb2d-4628-9140-122d0f91b28a" providerId="ADAL" clId="{DE1D7259-EAA4-44F5-878A-0D80DBEF94A3}" dt="2022-08-22T17:32:28.992" v="404" actId="20577"/>
          <ac:spMkLst>
            <pc:docMk/>
            <pc:sldMk cId="3399383844" sldId="275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17:35:50.806" v="445" actId="1076"/>
          <ac:spMkLst>
            <pc:docMk/>
            <pc:sldMk cId="3399383844" sldId="275"/>
            <ac:spMk id="10" creationId="{76F27EDA-E315-7F1C-7656-B52FE587C636}"/>
          </ac:spMkLst>
        </pc:spChg>
        <pc:spChg chg="del mod">
          <ac:chgData name="Marco Soares" userId="d0da0a5a-bb2d-4628-9140-122d0f91b28a" providerId="ADAL" clId="{DE1D7259-EAA4-44F5-878A-0D80DBEF94A3}" dt="2022-08-22T17:02:35.245" v="73" actId="478"/>
          <ac:spMkLst>
            <pc:docMk/>
            <pc:sldMk cId="3399383844" sldId="275"/>
            <ac:spMk id="12" creationId="{72CB4501-AE8E-46C9-9430-6CB2F1F5B04E}"/>
          </ac:spMkLst>
        </pc:spChg>
        <pc:spChg chg="mod">
          <ac:chgData name="Marco Soares" userId="d0da0a5a-bb2d-4628-9140-122d0f91b28a" providerId="ADAL" clId="{DE1D7259-EAA4-44F5-878A-0D80DBEF94A3}" dt="2022-08-22T17:02:47.824" v="74"/>
          <ac:spMkLst>
            <pc:docMk/>
            <pc:sldMk cId="3399383844" sldId="275"/>
            <ac:spMk id="13" creationId="{4C09CEDA-D22F-4BCE-9D40-097806403A28}"/>
          </ac:spMkLst>
        </pc:spChg>
        <pc:spChg chg="mod">
          <ac:chgData name="Marco Soares" userId="d0da0a5a-bb2d-4628-9140-122d0f91b28a" providerId="ADAL" clId="{DE1D7259-EAA4-44F5-878A-0D80DBEF94A3}" dt="2022-08-22T17:33:35.438" v="429" actId="14100"/>
          <ac:spMkLst>
            <pc:docMk/>
            <pc:sldMk cId="3399383844" sldId="275"/>
            <ac:spMk id="14" creationId="{AFF5A7AF-A0CE-47ED-A90B-2DFB39EAD823}"/>
          </ac:spMkLst>
        </pc:spChg>
        <pc:spChg chg="del mod">
          <ac:chgData name="Marco Soares" userId="d0da0a5a-bb2d-4628-9140-122d0f91b28a" providerId="ADAL" clId="{DE1D7259-EAA4-44F5-878A-0D80DBEF94A3}" dt="2022-08-22T17:33:43.044" v="434" actId="478"/>
          <ac:spMkLst>
            <pc:docMk/>
            <pc:sldMk cId="3399383844" sldId="275"/>
            <ac:spMk id="15" creationId="{43B7E333-B634-44B2-945C-3A0EB8E26FEC}"/>
          </ac:spMkLst>
        </pc:spChg>
      </pc:sldChg>
      <pc:sldChg chg="delSp modSp mod">
        <pc:chgData name="Marco Soares" userId="d0da0a5a-bb2d-4628-9140-122d0f91b28a" providerId="ADAL" clId="{DE1D7259-EAA4-44F5-878A-0D80DBEF94A3}" dt="2022-08-22T18:52:55.513" v="726" actId="123"/>
        <pc:sldMkLst>
          <pc:docMk/>
          <pc:sldMk cId="2950043444" sldId="276"/>
        </pc:sldMkLst>
        <pc:spChg chg="del mod">
          <ac:chgData name="Marco Soares" userId="d0da0a5a-bb2d-4628-9140-122d0f91b28a" providerId="ADAL" clId="{DE1D7259-EAA4-44F5-878A-0D80DBEF94A3}" dt="2022-08-22T17:36:26.944" v="447" actId="478"/>
          <ac:spMkLst>
            <pc:docMk/>
            <pc:sldMk cId="2950043444" sldId="276"/>
            <ac:spMk id="4" creationId="{00000000-0000-0000-0000-000000000000}"/>
          </ac:spMkLst>
        </pc:spChg>
        <pc:spChg chg="del mod">
          <ac:chgData name="Marco Soares" userId="d0da0a5a-bb2d-4628-9140-122d0f91b28a" providerId="ADAL" clId="{DE1D7259-EAA4-44F5-878A-0D80DBEF94A3}" dt="2022-08-22T17:36:54.067" v="457"/>
          <ac:spMkLst>
            <pc:docMk/>
            <pc:sldMk cId="2950043444" sldId="276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17:02:56.312" v="76"/>
          <ac:spMkLst>
            <pc:docMk/>
            <pc:sldMk cId="2950043444" sldId="276"/>
            <ac:spMk id="11" creationId="{4C2B85AC-0F31-4E4F-8BC5-3C9A9BC89B7A}"/>
          </ac:spMkLst>
        </pc:spChg>
        <pc:spChg chg="del">
          <ac:chgData name="Marco Soares" userId="d0da0a5a-bb2d-4628-9140-122d0f91b28a" providerId="ADAL" clId="{DE1D7259-EAA4-44F5-878A-0D80DBEF94A3}" dt="2022-08-22T17:02:54.037" v="75" actId="478"/>
          <ac:spMkLst>
            <pc:docMk/>
            <pc:sldMk cId="2950043444" sldId="276"/>
            <ac:spMk id="12" creationId="{72CB4501-AE8E-46C9-9430-6CB2F1F5B04E}"/>
          </ac:spMkLst>
        </pc:spChg>
        <pc:spChg chg="mod">
          <ac:chgData name="Marco Soares" userId="d0da0a5a-bb2d-4628-9140-122d0f91b28a" providerId="ADAL" clId="{DE1D7259-EAA4-44F5-878A-0D80DBEF94A3}" dt="2022-08-22T17:36:57.798" v="459" actId="20577"/>
          <ac:spMkLst>
            <pc:docMk/>
            <pc:sldMk cId="2950043444" sldId="276"/>
            <ac:spMk id="13" creationId="{440054C3-3B8D-455B-9AA4-B1D2337D375F}"/>
          </ac:spMkLst>
        </pc:spChg>
        <pc:spChg chg="mod">
          <ac:chgData name="Marco Soares" userId="d0da0a5a-bb2d-4628-9140-122d0f91b28a" providerId="ADAL" clId="{DE1D7259-EAA4-44F5-878A-0D80DBEF94A3}" dt="2022-08-22T18:52:55.513" v="726" actId="123"/>
          <ac:spMkLst>
            <pc:docMk/>
            <pc:sldMk cId="2950043444" sldId="276"/>
            <ac:spMk id="14" creationId="{62C43330-D177-4144-B79D-F360C640A444}"/>
          </ac:spMkLst>
        </pc:spChg>
        <pc:picChg chg="del">
          <ac:chgData name="Marco Soares" userId="d0da0a5a-bb2d-4628-9140-122d0f91b28a" providerId="ADAL" clId="{DE1D7259-EAA4-44F5-878A-0D80DBEF94A3}" dt="2022-08-22T17:03:00.922" v="77" actId="478"/>
          <ac:picMkLst>
            <pc:docMk/>
            <pc:sldMk cId="2950043444" sldId="276"/>
            <ac:picMk id="7" creationId="{9B11FAC2-2C67-46E2-8411-A7BA1AEA0513}"/>
          </ac:picMkLst>
        </pc:picChg>
      </pc:sldChg>
      <pc:sldChg chg="delSp modSp mod">
        <pc:chgData name="Marco Soares" userId="d0da0a5a-bb2d-4628-9140-122d0f91b28a" providerId="ADAL" clId="{DE1D7259-EAA4-44F5-878A-0D80DBEF94A3}" dt="2022-08-22T17:39:36.303" v="476" actId="207"/>
        <pc:sldMkLst>
          <pc:docMk/>
          <pc:sldMk cId="2223004198" sldId="277"/>
        </pc:sldMkLst>
        <pc:spChg chg="del mod">
          <ac:chgData name="Marco Soares" userId="d0da0a5a-bb2d-4628-9140-122d0f91b28a" providerId="ADAL" clId="{DE1D7259-EAA4-44F5-878A-0D80DBEF94A3}" dt="2022-08-22T17:39:05.725" v="469"/>
          <ac:spMkLst>
            <pc:docMk/>
            <pc:sldMk cId="2223004198" sldId="277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17:03:11.772" v="80"/>
          <ac:spMkLst>
            <pc:docMk/>
            <pc:sldMk cId="2223004198" sldId="277"/>
            <ac:spMk id="8" creationId="{917B4BDB-378B-4DF5-B177-9B49CB46C255}"/>
          </ac:spMkLst>
        </pc:spChg>
        <pc:spChg chg="mod">
          <ac:chgData name="Marco Soares" userId="d0da0a5a-bb2d-4628-9140-122d0f91b28a" providerId="ADAL" clId="{DE1D7259-EAA4-44F5-878A-0D80DBEF94A3}" dt="2022-08-22T17:39:07.665" v="470"/>
          <ac:spMkLst>
            <pc:docMk/>
            <pc:sldMk cId="2223004198" sldId="277"/>
            <ac:spMk id="9" creationId="{6B3F2B00-C98D-4F8D-8F9A-78089EE8DA14}"/>
          </ac:spMkLst>
        </pc:spChg>
        <pc:spChg chg="mod">
          <ac:chgData name="Marco Soares" userId="d0da0a5a-bb2d-4628-9140-122d0f91b28a" providerId="ADAL" clId="{DE1D7259-EAA4-44F5-878A-0D80DBEF94A3}" dt="2022-08-22T17:39:36.303" v="476" actId="207"/>
          <ac:spMkLst>
            <pc:docMk/>
            <pc:sldMk cId="2223004198" sldId="277"/>
            <ac:spMk id="10" creationId="{76F27EDA-E315-7F1C-7656-B52FE587C636}"/>
          </ac:spMkLst>
        </pc:spChg>
        <pc:spChg chg="del">
          <ac:chgData name="Marco Soares" userId="d0da0a5a-bb2d-4628-9140-122d0f91b28a" providerId="ADAL" clId="{DE1D7259-EAA4-44F5-878A-0D80DBEF94A3}" dt="2022-08-22T17:38:17.148" v="460" actId="478"/>
          <ac:spMkLst>
            <pc:docMk/>
            <pc:sldMk cId="2223004198" sldId="277"/>
            <ac:spMk id="11" creationId="{196DB92A-7F92-4781-8392-416BB866624A}"/>
          </ac:spMkLst>
        </pc:spChg>
        <pc:spChg chg="del">
          <ac:chgData name="Marco Soares" userId="d0da0a5a-bb2d-4628-9140-122d0f91b28a" providerId="ADAL" clId="{DE1D7259-EAA4-44F5-878A-0D80DBEF94A3}" dt="2022-08-22T17:03:09.438" v="79" actId="478"/>
          <ac:spMkLst>
            <pc:docMk/>
            <pc:sldMk cId="2223004198" sldId="277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03:05.902" v="78" actId="478"/>
          <ac:picMkLst>
            <pc:docMk/>
            <pc:sldMk cId="2223004198" sldId="277"/>
            <ac:picMk id="7" creationId="{4C477192-1362-4F6D-B8EA-ADE12902E0FA}"/>
          </ac:picMkLst>
        </pc:picChg>
      </pc:sldChg>
      <pc:sldChg chg="delSp modSp mod">
        <pc:chgData name="Marco Soares" userId="d0da0a5a-bb2d-4628-9140-122d0f91b28a" providerId="ADAL" clId="{DE1D7259-EAA4-44F5-878A-0D80DBEF94A3}" dt="2022-08-22T17:42:51.145" v="499" actId="1076"/>
        <pc:sldMkLst>
          <pc:docMk/>
          <pc:sldMk cId="2420291069" sldId="278"/>
        </pc:sldMkLst>
        <pc:spChg chg="mod">
          <ac:chgData name="Marco Soares" userId="d0da0a5a-bb2d-4628-9140-122d0f91b28a" providerId="ADAL" clId="{DE1D7259-EAA4-44F5-878A-0D80DBEF94A3}" dt="2022-08-22T17:03:24.935" v="83"/>
          <ac:spMkLst>
            <pc:docMk/>
            <pc:sldMk cId="2420291069" sldId="278"/>
            <ac:spMk id="2" creationId="{EF96847C-E780-495D-9F26-4B1E98E7A6D4}"/>
          </ac:spMkLst>
        </pc:spChg>
        <pc:spChg chg="mod">
          <ac:chgData name="Marco Soares" userId="d0da0a5a-bb2d-4628-9140-122d0f91b28a" providerId="ADAL" clId="{DE1D7259-EAA4-44F5-878A-0D80DBEF94A3}" dt="2022-08-22T17:42:51.145" v="499" actId="1076"/>
          <ac:spMkLst>
            <pc:docMk/>
            <pc:sldMk cId="2420291069" sldId="278"/>
            <ac:spMk id="3" creationId="{68FB8626-27D0-4F20-8202-03C49DE0F749}"/>
          </ac:spMkLst>
        </pc:spChg>
        <pc:spChg chg="del mod">
          <ac:chgData name="Marco Soares" userId="d0da0a5a-bb2d-4628-9140-122d0f91b28a" providerId="ADAL" clId="{DE1D7259-EAA4-44F5-878A-0D80DBEF94A3}" dt="2022-08-22T17:41:53.726" v="487" actId="478"/>
          <ac:spMkLst>
            <pc:docMk/>
            <pc:sldMk cId="2420291069" sldId="278"/>
            <ac:spMk id="5" creationId="{65BC6257-CB4E-472F-9056-36BCEF47482F}"/>
          </ac:spMkLst>
        </pc:spChg>
        <pc:spChg chg="del mod">
          <ac:chgData name="Marco Soares" userId="d0da0a5a-bb2d-4628-9140-122d0f91b28a" providerId="ADAL" clId="{DE1D7259-EAA4-44F5-878A-0D80DBEF94A3}" dt="2022-08-22T17:41:25.822" v="479"/>
          <ac:spMkLst>
            <pc:docMk/>
            <pc:sldMk cId="2420291069" sldId="278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17:42:45.815" v="498" actId="207"/>
          <ac:spMkLst>
            <pc:docMk/>
            <pc:sldMk cId="2420291069" sldId="278"/>
            <ac:spMk id="7" creationId="{0F4370EF-0E82-551A-2DA6-AAD861A270ED}"/>
          </ac:spMkLst>
        </pc:spChg>
        <pc:spChg chg="del">
          <ac:chgData name="Marco Soares" userId="d0da0a5a-bb2d-4628-9140-122d0f91b28a" providerId="ADAL" clId="{DE1D7259-EAA4-44F5-878A-0D80DBEF94A3}" dt="2022-08-22T17:03:23.074" v="82" actId="478"/>
          <ac:spMkLst>
            <pc:docMk/>
            <pc:sldMk cId="2420291069" sldId="278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03:19.634" v="81" actId="478"/>
          <ac:picMkLst>
            <pc:docMk/>
            <pc:sldMk cId="2420291069" sldId="278"/>
            <ac:picMk id="8" creationId="{719D98CA-6021-4D6C-9143-2C954A219691}"/>
          </ac:picMkLst>
        </pc:picChg>
      </pc:sldChg>
      <pc:sldChg chg="delSp modSp mod">
        <pc:chgData name="Marco Soares" userId="d0da0a5a-bb2d-4628-9140-122d0f91b28a" providerId="ADAL" clId="{DE1D7259-EAA4-44F5-878A-0D80DBEF94A3}" dt="2022-08-22T17:44:18.490" v="514" actId="207"/>
        <pc:sldMkLst>
          <pc:docMk/>
          <pc:sldMk cId="3417334172" sldId="279"/>
        </pc:sldMkLst>
        <pc:spChg chg="mod">
          <ac:chgData name="Marco Soares" userId="d0da0a5a-bb2d-4628-9140-122d0f91b28a" providerId="ADAL" clId="{DE1D7259-EAA4-44F5-878A-0D80DBEF94A3}" dt="2022-08-22T17:03:38.024" v="86"/>
          <ac:spMkLst>
            <pc:docMk/>
            <pc:sldMk cId="3417334172" sldId="279"/>
            <ac:spMk id="2" creationId="{6E8FCD1B-7673-44F6-8A97-A7BFD3B4547C}"/>
          </ac:spMkLst>
        </pc:spChg>
        <pc:spChg chg="mod">
          <ac:chgData name="Marco Soares" userId="d0da0a5a-bb2d-4628-9140-122d0f91b28a" providerId="ADAL" clId="{DE1D7259-EAA4-44F5-878A-0D80DBEF94A3}" dt="2022-08-22T17:43:46.745" v="510" actId="12"/>
          <ac:spMkLst>
            <pc:docMk/>
            <pc:sldMk cId="3417334172" sldId="279"/>
            <ac:spMk id="5" creationId="{B058BF74-F792-4758-94BD-FC4F91F3B23E}"/>
          </ac:spMkLst>
        </pc:spChg>
        <pc:spChg chg="del mod">
          <ac:chgData name="Marco Soares" userId="d0da0a5a-bb2d-4628-9140-122d0f91b28a" providerId="ADAL" clId="{DE1D7259-EAA4-44F5-878A-0D80DBEF94A3}" dt="2022-08-22T17:43:21.953" v="502"/>
          <ac:spMkLst>
            <pc:docMk/>
            <pc:sldMk cId="3417334172" sldId="279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7:43:33.076" v="506" actId="478"/>
          <ac:spMkLst>
            <pc:docMk/>
            <pc:sldMk cId="3417334172" sldId="279"/>
            <ac:spMk id="7" creationId="{ED7BEB04-B4E8-4399-B228-5382CF526135}"/>
          </ac:spMkLst>
        </pc:spChg>
        <pc:spChg chg="mod">
          <ac:chgData name="Marco Soares" userId="d0da0a5a-bb2d-4628-9140-122d0f91b28a" providerId="ADAL" clId="{DE1D7259-EAA4-44F5-878A-0D80DBEF94A3}" dt="2022-08-22T17:43:54.128" v="511" actId="208"/>
          <ac:spMkLst>
            <pc:docMk/>
            <pc:sldMk cId="3417334172" sldId="279"/>
            <ac:spMk id="11" creationId="{CBFD01CB-7E60-CBA4-337F-645344FD1A2C}"/>
          </ac:spMkLst>
        </pc:spChg>
        <pc:spChg chg="del">
          <ac:chgData name="Marco Soares" userId="d0da0a5a-bb2d-4628-9140-122d0f91b28a" providerId="ADAL" clId="{DE1D7259-EAA4-44F5-878A-0D80DBEF94A3}" dt="2022-08-22T17:03:33.571" v="84" actId="478"/>
          <ac:spMkLst>
            <pc:docMk/>
            <pc:sldMk cId="3417334172" sldId="279"/>
            <ac:spMk id="12" creationId="{72CB4501-AE8E-46C9-9430-6CB2F1F5B04E}"/>
          </ac:spMkLst>
        </pc:spChg>
        <pc:spChg chg="mod">
          <ac:chgData name="Marco Soares" userId="d0da0a5a-bb2d-4628-9140-122d0f91b28a" providerId="ADAL" clId="{DE1D7259-EAA4-44F5-878A-0D80DBEF94A3}" dt="2022-08-22T17:44:15.625" v="513" actId="207"/>
          <ac:spMkLst>
            <pc:docMk/>
            <pc:sldMk cId="3417334172" sldId="279"/>
            <ac:spMk id="13" creationId="{E992F77A-CFAE-55FE-35B4-CE7BDDC6E127}"/>
          </ac:spMkLst>
        </pc:spChg>
        <pc:spChg chg="mod">
          <ac:chgData name="Marco Soares" userId="d0da0a5a-bb2d-4628-9140-122d0f91b28a" providerId="ADAL" clId="{DE1D7259-EAA4-44F5-878A-0D80DBEF94A3}" dt="2022-08-22T17:43:58.261" v="512" actId="208"/>
          <ac:spMkLst>
            <pc:docMk/>
            <pc:sldMk cId="3417334172" sldId="279"/>
            <ac:spMk id="14" creationId="{869DC990-FF14-1ACD-1CA4-597C99B83F7E}"/>
          </ac:spMkLst>
        </pc:spChg>
        <pc:spChg chg="mod">
          <ac:chgData name="Marco Soares" userId="d0da0a5a-bb2d-4628-9140-122d0f91b28a" providerId="ADAL" clId="{DE1D7259-EAA4-44F5-878A-0D80DBEF94A3}" dt="2022-08-22T17:44:18.490" v="514" actId="207"/>
          <ac:spMkLst>
            <pc:docMk/>
            <pc:sldMk cId="3417334172" sldId="279"/>
            <ac:spMk id="15" creationId="{2717E7E5-F921-92B6-9489-5272F0D78641}"/>
          </ac:spMkLst>
        </pc:spChg>
        <pc:picChg chg="del">
          <ac:chgData name="Marco Soares" userId="d0da0a5a-bb2d-4628-9140-122d0f91b28a" providerId="ADAL" clId="{DE1D7259-EAA4-44F5-878A-0D80DBEF94A3}" dt="2022-08-22T17:03:36.002" v="85" actId="478"/>
          <ac:picMkLst>
            <pc:docMk/>
            <pc:sldMk cId="3417334172" sldId="279"/>
            <ac:picMk id="16" creationId="{C962C4AA-2B40-4EAA-8E52-80AB1A6B47F0}"/>
          </ac:picMkLst>
        </pc:picChg>
      </pc:sldChg>
      <pc:sldChg chg="delSp modSp mod">
        <pc:chgData name="Marco Soares" userId="d0da0a5a-bb2d-4628-9140-122d0f91b28a" providerId="ADAL" clId="{DE1D7259-EAA4-44F5-878A-0D80DBEF94A3}" dt="2022-08-22T17:45:48.456" v="528" actId="1076"/>
        <pc:sldMkLst>
          <pc:docMk/>
          <pc:sldMk cId="984874926" sldId="280"/>
        </pc:sldMkLst>
        <pc:spChg chg="mod">
          <ac:chgData name="Marco Soares" userId="d0da0a5a-bb2d-4628-9140-122d0f91b28a" providerId="ADAL" clId="{DE1D7259-EAA4-44F5-878A-0D80DBEF94A3}" dt="2022-08-22T17:03:46.494" v="88"/>
          <ac:spMkLst>
            <pc:docMk/>
            <pc:sldMk cId="984874926" sldId="280"/>
            <ac:spMk id="2" creationId="{267448C4-4D58-4D91-B24D-0F50AB698C3A}"/>
          </ac:spMkLst>
        </pc:spChg>
        <pc:spChg chg="del">
          <ac:chgData name="Marco Soares" userId="d0da0a5a-bb2d-4628-9140-122d0f91b28a" providerId="ADAL" clId="{DE1D7259-EAA4-44F5-878A-0D80DBEF94A3}" dt="2022-08-22T17:44:51.605" v="516" actId="478"/>
          <ac:spMkLst>
            <pc:docMk/>
            <pc:sldMk cId="984874926" sldId="280"/>
            <ac:spMk id="5" creationId="{01CDB856-033A-40FC-ADA1-7064E2D2E582}"/>
          </ac:spMkLst>
        </pc:spChg>
        <pc:spChg chg="mod">
          <ac:chgData name="Marco Soares" userId="d0da0a5a-bb2d-4628-9140-122d0f91b28a" providerId="ADAL" clId="{DE1D7259-EAA4-44F5-878A-0D80DBEF94A3}" dt="2022-08-22T17:45:48.456" v="528" actId="1076"/>
          <ac:spMkLst>
            <pc:docMk/>
            <pc:sldMk cId="984874926" sldId="280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7:44:48.842" v="515" actId="478"/>
          <ac:spMkLst>
            <pc:docMk/>
            <pc:sldMk cId="984874926" sldId="280"/>
            <ac:spMk id="7" creationId="{BD97D272-BD1F-4674-9C5D-25DF9F3CE933}"/>
          </ac:spMkLst>
        </pc:spChg>
        <pc:spChg chg="del">
          <ac:chgData name="Marco Soares" userId="d0da0a5a-bb2d-4628-9140-122d0f91b28a" providerId="ADAL" clId="{DE1D7259-EAA4-44F5-878A-0D80DBEF94A3}" dt="2022-08-22T17:03:44.445" v="87" actId="478"/>
          <ac:spMkLst>
            <pc:docMk/>
            <pc:sldMk cId="984874926" sldId="280"/>
            <ac:spMk id="12" creationId="{72CB4501-AE8E-46C9-9430-6CB2F1F5B04E}"/>
          </ac:spMkLst>
        </pc:spChg>
        <pc:spChg chg="mod">
          <ac:chgData name="Marco Soares" userId="d0da0a5a-bb2d-4628-9140-122d0f91b28a" providerId="ADAL" clId="{DE1D7259-EAA4-44F5-878A-0D80DBEF94A3}" dt="2022-08-22T17:45:40.904" v="526" actId="1076"/>
          <ac:spMkLst>
            <pc:docMk/>
            <pc:sldMk cId="984874926" sldId="280"/>
            <ac:spMk id="16" creationId="{74655851-144B-6396-93ED-933BE16B4CA2}"/>
          </ac:spMkLst>
        </pc:spChg>
        <pc:picChg chg="mod">
          <ac:chgData name="Marco Soares" userId="d0da0a5a-bb2d-4628-9140-122d0f91b28a" providerId="ADAL" clId="{DE1D7259-EAA4-44F5-878A-0D80DBEF94A3}" dt="2022-08-22T17:45:44.469" v="527" actId="1076"/>
          <ac:picMkLst>
            <pc:docMk/>
            <pc:sldMk cId="984874926" sldId="280"/>
            <ac:picMk id="3" creationId="{F0EEB6EC-9109-37C8-82BB-CA00E0CF88B5}"/>
          </ac:picMkLst>
        </pc:picChg>
        <pc:picChg chg="del">
          <ac:chgData name="Marco Soares" userId="d0da0a5a-bb2d-4628-9140-122d0f91b28a" providerId="ADAL" clId="{DE1D7259-EAA4-44F5-878A-0D80DBEF94A3}" dt="2022-08-22T17:03:48.828" v="89" actId="478"/>
          <ac:picMkLst>
            <pc:docMk/>
            <pc:sldMk cId="984874926" sldId="280"/>
            <ac:picMk id="8" creationId="{2B918418-1C48-49A1-B3CE-7C60DC7E5337}"/>
          </ac:picMkLst>
        </pc:picChg>
      </pc:sldChg>
      <pc:sldChg chg="delSp modSp mod">
        <pc:chgData name="Marco Soares" userId="d0da0a5a-bb2d-4628-9140-122d0f91b28a" providerId="ADAL" clId="{DE1D7259-EAA4-44F5-878A-0D80DBEF94A3}" dt="2022-08-22T17:07:46.769" v="136" actId="14100"/>
        <pc:sldMkLst>
          <pc:docMk/>
          <pc:sldMk cId="3345360423" sldId="282"/>
        </pc:sldMkLst>
        <pc:spChg chg="del">
          <ac:chgData name="Marco Soares" userId="d0da0a5a-bb2d-4628-9140-122d0f91b28a" providerId="ADAL" clId="{DE1D7259-EAA4-44F5-878A-0D80DBEF94A3}" dt="2022-08-22T17:05:59.184" v="111" actId="478"/>
          <ac:spMkLst>
            <pc:docMk/>
            <pc:sldMk cId="3345360423" sldId="282"/>
            <ac:spMk id="5" creationId="{A7604EDF-DF69-477F-80DF-C5509609CDD0}"/>
          </ac:spMkLst>
        </pc:spChg>
        <pc:spChg chg="del">
          <ac:chgData name="Marco Soares" userId="d0da0a5a-bb2d-4628-9140-122d0f91b28a" providerId="ADAL" clId="{DE1D7259-EAA4-44F5-878A-0D80DBEF94A3}" dt="2022-08-22T17:06:25.097" v="114" actId="478"/>
          <ac:spMkLst>
            <pc:docMk/>
            <pc:sldMk cId="3345360423" sldId="282"/>
            <ac:spMk id="6" creationId="{239462A2-E89A-40E0-BFBE-E0976C67367C}"/>
          </ac:spMkLst>
        </pc:spChg>
        <pc:spChg chg="del">
          <ac:chgData name="Marco Soares" userId="d0da0a5a-bb2d-4628-9140-122d0f91b28a" providerId="ADAL" clId="{DE1D7259-EAA4-44F5-878A-0D80DBEF94A3}" dt="2022-08-22T17:06:28.320" v="115" actId="478"/>
          <ac:spMkLst>
            <pc:docMk/>
            <pc:sldMk cId="3345360423" sldId="282"/>
            <ac:spMk id="7" creationId="{3B7E507E-9092-44BE-BAAF-107718A95E78}"/>
          </ac:spMkLst>
        </pc:spChg>
        <pc:picChg chg="mod">
          <ac:chgData name="Marco Soares" userId="d0da0a5a-bb2d-4628-9140-122d0f91b28a" providerId="ADAL" clId="{DE1D7259-EAA4-44F5-878A-0D80DBEF94A3}" dt="2022-08-22T17:07:46.769" v="136" actId="14100"/>
          <ac:picMkLst>
            <pc:docMk/>
            <pc:sldMk cId="3345360423" sldId="282"/>
            <ac:picMk id="2" creationId="{F195EC92-BC43-8AF9-C09A-B34A64F2F580}"/>
          </ac:picMkLst>
        </pc:picChg>
      </pc:sldChg>
      <pc:sldChg chg="delSp modSp mod">
        <pc:chgData name="Marco Soares" userId="d0da0a5a-bb2d-4628-9140-122d0f91b28a" providerId="ADAL" clId="{DE1D7259-EAA4-44F5-878A-0D80DBEF94A3}" dt="2022-08-22T18:43:02.057" v="621" actId="1076"/>
        <pc:sldMkLst>
          <pc:docMk/>
          <pc:sldMk cId="1332271589" sldId="283"/>
        </pc:sldMkLst>
        <pc:spChg chg="mod">
          <ac:chgData name="Marco Soares" userId="d0da0a5a-bb2d-4628-9140-122d0f91b28a" providerId="ADAL" clId="{DE1D7259-EAA4-44F5-878A-0D80DBEF94A3}" dt="2022-08-22T17:14:42.786" v="174"/>
          <ac:spMkLst>
            <pc:docMk/>
            <pc:sldMk cId="1332271589" sldId="283"/>
            <ac:spMk id="2" creationId="{E19D0684-7E42-4EE5-B039-29B70334F681}"/>
          </ac:spMkLst>
        </pc:spChg>
        <pc:spChg chg="del">
          <ac:chgData name="Marco Soares" userId="d0da0a5a-bb2d-4628-9140-122d0f91b28a" providerId="ADAL" clId="{DE1D7259-EAA4-44F5-878A-0D80DBEF94A3}" dt="2022-08-22T18:42:07.370" v="610" actId="478"/>
          <ac:spMkLst>
            <pc:docMk/>
            <pc:sldMk cId="1332271589" sldId="283"/>
            <ac:spMk id="3" creationId="{796B7B21-8584-451E-AF38-9EF2AF7B3C6E}"/>
          </ac:spMkLst>
        </pc:spChg>
        <pc:spChg chg="del">
          <ac:chgData name="Marco Soares" userId="d0da0a5a-bb2d-4628-9140-122d0f91b28a" providerId="ADAL" clId="{DE1D7259-EAA4-44F5-878A-0D80DBEF94A3}" dt="2022-08-22T18:42:04.581" v="609" actId="478"/>
          <ac:spMkLst>
            <pc:docMk/>
            <pc:sldMk cId="1332271589" sldId="283"/>
            <ac:spMk id="5" creationId="{62D1166A-3E36-4E5F-9D4F-F4CEE92CC2EC}"/>
          </ac:spMkLst>
        </pc:spChg>
        <pc:spChg chg="mod">
          <ac:chgData name="Marco Soares" userId="d0da0a5a-bb2d-4628-9140-122d0f91b28a" providerId="ADAL" clId="{DE1D7259-EAA4-44F5-878A-0D80DBEF94A3}" dt="2022-08-22T18:43:02.057" v="621" actId="1076"/>
          <ac:spMkLst>
            <pc:docMk/>
            <pc:sldMk cId="1332271589" sldId="283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7:14:41.565" v="173" actId="478"/>
          <ac:spMkLst>
            <pc:docMk/>
            <pc:sldMk cId="1332271589" sldId="283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6:44" v="203" actId="478"/>
          <ac:picMkLst>
            <pc:docMk/>
            <pc:sldMk cId="1332271589" sldId="283"/>
            <ac:picMk id="7" creationId="{A250D7EF-70BE-4BB5-BEDA-ECADD0C33FCC}"/>
          </ac:picMkLst>
        </pc:picChg>
      </pc:sldChg>
      <pc:sldChg chg="delSp modSp mod modNotesTx">
        <pc:chgData name="Marco Soares" userId="d0da0a5a-bb2d-4628-9140-122d0f91b28a" providerId="ADAL" clId="{DE1D7259-EAA4-44F5-878A-0D80DBEF94A3}" dt="2022-08-22T18:47:39.113" v="670" actId="20577"/>
        <pc:sldMkLst>
          <pc:docMk/>
          <pc:sldMk cId="2236436590" sldId="284"/>
        </pc:sldMkLst>
        <pc:spChg chg="mod">
          <ac:chgData name="Marco Soares" userId="d0da0a5a-bb2d-4628-9140-122d0f91b28a" providerId="ADAL" clId="{DE1D7259-EAA4-44F5-878A-0D80DBEF94A3}" dt="2022-08-22T17:14:34.173" v="172" actId="20577"/>
          <ac:spMkLst>
            <pc:docMk/>
            <pc:sldMk cId="2236436590" sldId="284"/>
            <ac:spMk id="2" creationId="{19A8E309-2605-4EA9-98CF-2E0BA19CAEAF}"/>
          </ac:spMkLst>
        </pc:spChg>
        <pc:spChg chg="del">
          <ac:chgData name="Marco Soares" userId="d0da0a5a-bb2d-4628-9140-122d0f91b28a" providerId="ADAL" clId="{DE1D7259-EAA4-44F5-878A-0D80DBEF94A3}" dt="2022-08-22T18:41:43.533" v="607" actId="478"/>
          <ac:spMkLst>
            <pc:docMk/>
            <pc:sldMk cId="2236436590" sldId="284"/>
            <ac:spMk id="3" creationId="{A439858A-CA66-42BC-9847-38323529FC90}"/>
          </ac:spMkLst>
        </pc:spChg>
        <pc:spChg chg="del">
          <ac:chgData name="Marco Soares" userId="d0da0a5a-bb2d-4628-9140-122d0f91b28a" providerId="ADAL" clId="{DE1D7259-EAA4-44F5-878A-0D80DBEF94A3}" dt="2022-08-22T18:40:37.374" v="601" actId="478"/>
          <ac:spMkLst>
            <pc:docMk/>
            <pc:sldMk cId="2236436590" sldId="284"/>
            <ac:spMk id="5" creationId="{C73D58BF-68E7-4380-9820-E766D47D25F6}"/>
          </ac:spMkLst>
        </pc:spChg>
        <pc:spChg chg="mod">
          <ac:chgData name="Marco Soares" userId="d0da0a5a-bb2d-4628-9140-122d0f91b28a" providerId="ADAL" clId="{DE1D7259-EAA4-44F5-878A-0D80DBEF94A3}" dt="2022-08-22T18:47:39.113" v="670" actId="20577"/>
          <ac:spMkLst>
            <pc:docMk/>
            <pc:sldMk cId="2236436590" sldId="284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7:14:29.067" v="170" actId="478"/>
          <ac:spMkLst>
            <pc:docMk/>
            <pc:sldMk cId="2236436590" sldId="284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6:40.804" v="202" actId="478"/>
          <ac:picMkLst>
            <pc:docMk/>
            <pc:sldMk cId="2236436590" sldId="284"/>
            <ac:picMk id="7" creationId="{3C43946B-91BD-4DF4-BC94-A76F50DF6CC9}"/>
          </ac:picMkLst>
        </pc:picChg>
      </pc:sldChg>
      <pc:sldChg chg="addSp delSp modSp mod">
        <pc:chgData name="Marco Soares" userId="d0da0a5a-bb2d-4628-9140-122d0f91b28a" providerId="ADAL" clId="{DE1D7259-EAA4-44F5-878A-0D80DBEF94A3}" dt="2022-08-22T18:52:36.827" v="725" actId="123"/>
        <pc:sldMkLst>
          <pc:docMk/>
          <pc:sldMk cId="2655969391" sldId="285"/>
        </pc:sldMkLst>
        <pc:spChg chg="mod">
          <ac:chgData name="Marco Soares" userId="d0da0a5a-bb2d-4628-9140-122d0f91b28a" providerId="ADAL" clId="{DE1D7259-EAA4-44F5-878A-0D80DBEF94A3}" dt="2022-08-22T17:14:48.019" v="176"/>
          <ac:spMkLst>
            <pc:docMk/>
            <pc:sldMk cId="2655969391" sldId="285"/>
            <ac:spMk id="2" creationId="{8C207F0C-F00D-42A9-98EE-A2A48B423743}"/>
          </ac:spMkLst>
        </pc:spChg>
        <pc:spChg chg="add del">
          <ac:chgData name="Marco Soares" userId="d0da0a5a-bb2d-4628-9140-122d0f91b28a" providerId="ADAL" clId="{DE1D7259-EAA4-44F5-878A-0D80DBEF94A3}" dt="2022-08-22T18:43:29.834" v="628" actId="478"/>
          <ac:spMkLst>
            <pc:docMk/>
            <pc:sldMk cId="2655969391" sldId="285"/>
            <ac:spMk id="3" creationId="{16876092-8393-47E8-A937-D18A0C7F367E}"/>
          </ac:spMkLst>
        </pc:spChg>
        <pc:spChg chg="add del mod">
          <ac:chgData name="Marco Soares" userId="d0da0a5a-bb2d-4628-9140-122d0f91b28a" providerId="ADAL" clId="{DE1D7259-EAA4-44F5-878A-0D80DBEF94A3}" dt="2022-08-22T18:52:36.827" v="725" actId="123"/>
          <ac:spMkLst>
            <pc:docMk/>
            <pc:sldMk cId="2655969391" sldId="285"/>
            <ac:spMk id="5" creationId="{4FD52249-4F83-4FC6-BB1C-134F8FCC67B0}"/>
          </ac:spMkLst>
        </pc:spChg>
        <pc:spChg chg="del mod">
          <ac:chgData name="Marco Soares" userId="d0da0a5a-bb2d-4628-9140-122d0f91b28a" providerId="ADAL" clId="{DE1D7259-EAA4-44F5-878A-0D80DBEF94A3}" dt="2022-08-22T18:43:29.837" v="630"/>
          <ac:spMkLst>
            <pc:docMk/>
            <pc:sldMk cId="2655969391" sldId="285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7:14:46.541" v="175" actId="478"/>
          <ac:spMkLst>
            <pc:docMk/>
            <pc:sldMk cId="2655969391" sldId="285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6:47.733" v="204" actId="478"/>
          <ac:picMkLst>
            <pc:docMk/>
            <pc:sldMk cId="2655969391" sldId="285"/>
            <ac:picMk id="7" creationId="{8127E6B0-F502-4853-8760-0BEB3752EC01}"/>
          </ac:picMkLst>
        </pc:picChg>
      </pc:sldChg>
      <pc:sldChg chg="delSp modSp mod">
        <pc:chgData name="Marco Soares" userId="d0da0a5a-bb2d-4628-9140-122d0f91b28a" providerId="ADAL" clId="{DE1D7259-EAA4-44F5-878A-0D80DBEF94A3}" dt="2022-08-22T18:52:23.349" v="724" actId="14100"/>
        <pc:sldMkLst>
          <pc:docMk/>
          <pc:sldMk cId="2867794317" sldId="286"/>
        </pc:sldMkLst>
        <pc:spChg chg="mod">
          <ac:chgData name="Marco Soares" userId="d0da0a5a-bb2d-4628-9140-122d0f91b28a" providerId="ADAL" clId="{DE1D7259-EAA4-44F5-878A-0D80DBEF94A3}" dt="2022-08-22T17:15:06.687" v="182"/>
          <ac:spMkLst>
            <pc:docMk/>
            <pc:sldMk cId="2867794317" sldId="286"/>
            <ac:spMk id="2" creationId="{B4950AD6-4984-406E-98BE-87686FD94904}"/>
          </ac:spMkLst>
        </pc:spChg>
        <pc:spChg chg="del">
          <ac:chgData name="Marco Soares" userId="d0da0a5a-bb2d-4628-9140-122d0f91b28a" providerId="ADAL" clId="{DE1D7259-EAA4-44F5-878A-0D80DBEF94A3}" dt="2022-08-22T18:49:53.681" v="694" actId="478"/>
          <ac:spMkLst>
            <pc:docMk/>
            <pc:sldMk cId="2867794317" sldId="286"/>
            <ac:spMk id="5" creationId="{CC2A8164-90A7-43E7-8AE6-8E6390F484AE}"/>
          </ac:spMkLst>
        </pc:spChg>
        <pc:spChg chg="del mod">
          <ac:chgData name="Marco Soares" userId="d0da0a5a-bb2d-4628-9140-122d0f91b28a" providerId="ADAL" clId="{DE1D7259-EAA4-44F5-878A-0D80DBEF94A3}" dt="2022-08-22T18:49:53.682" v="696"/>
          <ac:spMkLst>
            <pc:docMk/>
            <pc:sldMk cId="2867794317" sldId="286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18:52:23.349" v="724" actId="14100"/>
          <ac:spMkLst>
            <pc:docMk/>
            <pc:sldMk cId="2867794317" sldId="286"/>
            <ac:spMk id="8" creationId="{4024AFE8-CAB1-4FB1-BB6D-DBB35CDC031D}"/>
          </ac:spMkLst>
        </pc:spChg>
        <pc:spChg chg="del">
          <ac:chgData name="Marco Soares" userId="d0da0a5a-bb2d-4628-9140-122d0f91b28a" providerId="ADAL" clId="{DE1D7259-EAA4-44F5-878A-0D80DBEF94A3}" dt="2022-08-22T17:15:05.333" v="181" actId="478"/>
          <ac:spMkLst>
            <pc:docMk/>
            <pc:sldMk cId="2867794317" sldId="286"/>
            <ac:spMk id="12" creationId="{72CB4501-AE8E-46C9-9430-6CB2F1F5B04E}"/>
          </ac:spMkLst>
        </pc:spChg>
        <pc:picChg chg="mod">
          <ac:chgData name="Marco Soares" userId="d0da0a5a-bb2d-4628-9140-122d0f91b28a" providerId="ADAL" clId="{DE1D7259-EAA4-44F5-878A-0D80DBEF94A3}" dt="2022-08-22T18:50:28.542" v="706" actId="1076"/>
          <ac:picMkLst>
            <pc:docMk/>
            <pc:sldMk cId="2867794317" sldId="286"/>
            <ac:picMk id="3" creationId="{56B7E586-1A39-69D3-36BF-3F9C7A267E2A}"/>
          </ac:picMkLst>
        </pc:picChg>
        <pc:picChg chg="del">
          <ac:chgData name="Marco Soares" userId="d0da0a5a-bb2d-4628-9140-122d0f91b28a" providerId="ADAL" clId="{DE1D7259-EAA4-44F5-878A-0D80DBEF94A3}" dt="2022-08-22T17:16:56.642" v="206" actId="478"/>
          <ac:picMkLst>
            <pc:docMk/>
            <pc:sldMk cId="2867794317" sldId="286"/>
            <ac:picMk id="7" creationId="{468AF220-11A3-477D-8209-8C4F2A56AF68}"/>
          </ac:picMkLst>
        </pc:picChg>
      </pc:sldChg>
      <pc:sldChg chg="addSp delSp modSp mod">
        <pc:chgData name="Marco Soares" userId="d0da0a5a-bb2d-4628-9140-122d0f91b28a" providerId="ADAL" clId="{DE1D7259-EAA4-44F5-878A-0D80DBEF94A3}" dt="2022-08-22T18:53:23.445" v="729" actId="14100"/>
        <pc:sldMkLst>
          <pc:docMk/>
          <pc:sldMk cId="198603111" sldId="287"/>
        </pc:sldMkLst>
        <pc:spChg chg="mod">
          <ac:chgData name="Marco Soares" userId="d0da0a5a-bb2d-4628-9140-122d0f91b28a" providerId="ADAL" clId="{DE1D7259-EAA4-44F5-878A-0D80DBEF94A3}" dt="2022-08-22T17:15:29.083" v="184" actId="20577"/>
          <ac:spMkLst>
            <pc:docMk/>
            <pc:sldMk cId="198603111" sldId="287"/>
            <ac:spMk id="2" creationId="{128E356E-8AC3-4763-9018-C6623E5C5D60}"/>
          </ac:spMkLst>
        </pc:spChg>
        <pc:spChg chg="del">
          <ac:chgData name="Marco Soares" userId="d0da0a5a-bb2d-4628-9140-122d0f91b28a" providerId="ADAL" clId="{DE1D7259-EAA4-44F5-878A-0D80DBEF94A3}" dt="2022-08-22T18:51:33.585" v="707" actId="478"/>
          <ac:spMkLst>
            <pc:docMk/>
            <pc:sldMk cId="198603111" sldId="287"/>
            <ac:spMk id="3" creationId="{3168E35B-2EDC-4A50-AA41-8BDF9388F5D0}"/>
          </ac:spMkLst>
        </pc:spChg>
        <pc:spChg chg="add del mod">
          <ac:chgData name="Marco Soares" userId="d0da0a5a-bb2d-4628-9140-122d0f91b28a" providerId="ADAL" clId="{DE1D7259-EAA4-44F5-878A-0D80DBEF94A3}" dt="2022-08-22T17:15:52.145" v="189" actId="478"/>
          <ac:spMkLst>
            <pc:docMk/>
            <pc:sldMk cId="198603111" sldId="287"/>
            <ac:spMk id="4" creationId="{00000000-0000-0000-0000-000000000000}"/>
          </ac:spMkLst>
        </pc:spChg>
        <pc:spChg chg="del mod">
          <ac:chgData name="Marco Soares" userId="d0da0a5a-bb2d-4628-9140-122d0f91b28a" providerId="ADAL" clId="{DE1D7259-EAA4-44F5-878A-0D80DBEF94A3}" dt="2022-08-22T18:51:39.375" v="710"/>
          <ac:spMkLst>
            <pc:docMk/>
            <pc:sldMk cId="198603111" sldId="287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18:53:23.445" v="729" actId="14100"/>
          <ac:spMkLst>
            <pc:docMk/>
            <pc:sldMk cId="198603111" sldId="287"/>
            <ac:spMk id="8" creationId="{972226D2-4985-46C5-B0A4-26B5977BB730}"/>
          </ac:spMkLst>
        </pc:spChg>
        <pc:spChg chg="del">
          <ac:chgData name="Marco Soares" userId="d0da0a5a-bb2d-4628-9140-122d0f91b28a" providerId="ADAL" clId="{DE1D7259-EAA4-44F5-878A-0D80DBEF94A3}" dt="2022-08-22T17:15:33.811" v="185" actId="478"/>
          <ac:spMkLst>
            <pc:docMk/>
            <pc:sldMk cId="198603111" sldId="287"/>
            <ac:spMk id="12" creationId="{72CB4501-AE8E-46C9-9430-6CB2F1F5B04E}"/>
          </ac:spMkLst>
        </pc:spChg>
        <pc:picChg chg="mod">
          <ac:chgData name="Marco Soares" userId="d0da0a5a-bb2d-4628-9140-122d0f91b28a" providerId="ADAL" clId="{DE1D7259-EAA4-44F5-878A-0D80DBEF94A3}" dt="2022-08-22T18:53:20.381" v="728" actId="1076"/>
          <ac:picMkLst>
            <pc:docMk/>
            <pc:sldMk cId="198603111" sldId="287"/>
            <ac:picMk id="5" creationId="{515C7CD5-FC6C-5ECE-536F-6B00FACA1800}"/>
          </ac:picMkLst>
        </pc:picChg>
        <pc:picChg chg="del">
          <ac:chgData name="Marco Soares" userId="d0da0a5a-bb2d-4628-9140-122d0f91b28a" providerId="ADAL" clId="{DE1D7259-EAA4-44F5-878A-0D80DBEF94A3}" dt="2022-08-22T17:17:00.689" v="207" actId="478"/>
          <ac:picMkLst>
            <pc:docMk/>
            <pc:sldMk cId="198603111" sldId="287"/>
            <ac:picMk id="7" creationId="{72CA29A8-A47C-4944-B0D9-04AF38745FDF}"/>
          </ac:picMkLst>
        </pc:picChg>
      </pc:sldChg>
      <pc:sldChg chg="delSp modSp mod">
        <pc:chgData name="Marco Soares" userId="d0da0a5a-bb2d-4628-9140-122d0f91b28a" providerId="ADAL" clId="{DE1D7259-EAA4-44F5-878A-0D80DBEF94A3}" dt="2022-08-22T18:53:59.290" v="742" actId="1038"/>
        <pc:sldMkLst>
          <pc:docMk/>
          <pc:sldMk cId="1600847887" sldId="288"/>
        </pc:sldMkLst>
        <pc:spChg chg="mod">
          <ac:chgData name="Marco Soares" userId="d0da0a5a-bb2d-4628-9140-122d0f91b28a" providerId="ADAL" clId="{DE1D7259-EAA4-44F5-878A-0D80DBEF94A3}" dt="2022-08-22T18:53:46.829" v="732" actId="14100"/>
          <ac:spMkLst>
            <pc:docMk/>
            <pc:sldMk cId="1600847887" sldId="288"/>
            <ac:spMk id="2" creationId="{3B55FF93-EDF7-4538-9ACB-E185EAF4AC00}"/>
          </ac:spMkLst>
        </pc:spChg>
        <pc:spChg chg="del">
          <ac:chgData name="Marco Soares" userId="d0da0a5a-bb2d-4628-9140-122d0f91b28a" providerId="ADAL" clId="{DE1D7259-EAA4-44F5-878A-0D80DBEF94A3}" dt="2022-08-22T18:53:40.642" v="731" actId="478"/>
          <ac:spMkLst>
            <pc:docMk/>
            <pc:sldMk cId="1600847887" sldId="288"/>
            <ac:spMk id="3" creationId="{4DAE3200-B5A1-4665-8E0D-C7DB1900AF0F}"/>
          </ac:spMkLst>
        </pc:spChg>
        <pc:spChg chg="del mod">
          <ac:chgData name="Marco Soares" userId="d0da0a5a-bb2d-4628-9140-122d0f91b28a" providerId="ADAL" clId="{DE1D7259-EAA4-44F5-878A-0D80DBEF94A3}" dt="2022-08-22T17:16:04.738" v="192" actId="478"/>
          <ac:spMkLst>
            <pc:docMk/>
            <pc:sldMk cId="1600847887" sldId="288"/>
            <ac:spMk id="4" creationId="{00000000-0000-0000-0000-000000000000}"/>
          </ac:spMkLst>
        </pc:spChg>
        <pc:spChg chg="del">
          <ac:chgData name="Marco Soares" userId="d0da0a5a-bb2d-4628-9140-122d0f91b28a" providerId="ADAL" clId="{DE1D7259-EAA4-44F5-878A-0D80DBEF94A3}" dt="2022-08-22T18:53:32.814" v="730" actId="478"/>
          <ac:spMkLst>
            <pc:docMk/>
            <pc:sldMk cId="1600847887" sldId="288"/>
            <ac:spMk id="5" creationId="{669DDE78-26FF-427B-A00C-B01B72C000B6}"/>
          </ac:spMkLst>
        </pc:spChg>
        <pc:spChg chg="mod">
          <ac:chgData name="Marco Soares" userId="d0da0a5a-bb2d-4628-9140-122d0f91b28a" providerId="ADAL" clId="{DE1D7259-EAA4-44F5-878A-0D80DBEF94A3}" dt="2022-08-22T18:53:59.290" v="742" actId="1038"/>
          <ac:spMkLst>
            <pc:docMk/>
            <pc:sldMk cId="1600847887" sldId="288"/>
            <ac:spMk id="8" creationId="{4B60DB03-7E55-106F-C3D4-F78EB4023AE7}"/>
          </ac:spMkLst>
        </pc:spChg>
        <pc:spChg chg="mod">
          <ac:chgData name="Marco Soares" userId="d0da0a5a-bb2d-4628-9140-122d0f91b28a" providerId="ADAL" clId="{DE1D7259-EAA4-44F5-878A-0D80DBEF94A3}" dt="2022-08-22T18:53:59.290" v="742" actId="1038"/>
          <ac:spMkLst>
            <pc:docMk/>
            <pc:sldMk cId="1600847887" sldId="288"/>
            <ac:spMk id="9" creationId="{74ADBE80-4572-C94E-A412-E9CD3FE03AAC}"/>
          </ac:spMkLst>
        </pc:spChg>
        <pc:spChg chg="del">
          <ac:chgData name="Marco Soares" userId="d0da0a5a-bb2d-4628-9140-122d0f91b28a" providerId="ADAL" clId="{DE1D7259-EAA4-44F5-878A-0D80DBEF94A3}" dt="2022-08-22T17:15:59.491" v="190" actId="478"/>
          <ac:spMkLst>
            <pc:docMk/>
            <pc:sldMk cId="1600847887" sldId="288"/>
            <ac:spMk id="12" creationId="{72CB4501-AE8E-46C9-9430-6CB2F1F5B04E}"/>
          </ac:spMkLst>
        </pc:spChg>
        <pc:spChg chg="mod">
          <ac:chgData name="Marco Soares" userId="d0da0a5a-bb2d-4628-9140-122d0f91b28a" providerId="ADAL" clId="{DE1D7259-EAA4-44F5-878A-0D80DBEF94A3}" dt="2022-08-22T18:53:59.290" v="742" actId="1038"/>
          <ac:spMkLst>
            <pc:docMk/>
            <pc:sldMk cId="1600847887" sldId="288"/>
            <ac:spMk id="13" creationId="{9815BF0E-20BE-46B1-52F7-3E3930A1227B}"/>
          </ac:spMkLst>
        </pc:spChg>
        <pc:spChg chg="mod">
          <ac:chgData name="Marco Soares" userId="d0da0a5a-bb2d-4628-9140-122d0f91b28a" providerId="ADAL" clId="{DE1D7259-EAA4-44F5-878A-0D80DBEF94A3}" dt="2022-08-22T18:53:59.290" v="742" actId="1038"/>
          <ac:spMkLst>
            <pc:docMk/>
            <pc:sldMk cId="1600847887" sldId="288"/>
            <ac:spMk id="14" creationId="{7F599BF8-1F88-6D92-6CA4-493BF3E0A258}"/>
          </ac:spMkLst>
        </pc:spChg>
        <pc:picChg chg="del">
          <ac:chgData name="Marco Soares" userId="d0da0a5a-bb2d-4628-9140-122d0f91b28a" providerId="ADAL" clId="{DE1D7259-EAA4-44F5-878A-0D80DBEF94A3}" dt="2022-08-22T17:17:04.939" v="208" actId="478"/>
          <ac:picMkLst>
            <pc:docMk/>
            <pc:sldMk cId="1600847887" sldId="288"/>
            <ac:picMk id="16" creationId="{6206D3EE-EA12-41E4-8396-8E3E35DABE3E}"/>
          </ac:picMkLst>
        </pc:picChg>
        <pc:picChg chg="mod">
          <ac:chgData name="Marco Soares" userId="d0da0a5a-bb2d-4628-9140-122d0f91b28a" providerId="ADAL" clId="{DE1D7259-EAA4-44F5-878A-0D80DBEF94A3}" dt="2022-08-22T18:53:59.290" v="742" actId="1038"/>
          <ac:picMkLst>
            <pc:docMk/>
            <pc:sldMk cId="1600847887" sldId="288"/>
            <ac:picMk id="2050" creationId="{D3BC904E-917C-4167-00EF-04BCFB892F14}"/>
          </ac:picMkLst>
        </pc:picChg>
        <pc:cxnChg chg="mod">
          <ac:chgData name="Marco Soares" userId="d0da0a5a-bb2d-4628-9140-122d0f91b28a" providerId="ADAL" clId="{DE1D7259-EAA4-44F5-878A-0D80DBEF94A3}" dt="2022-08-22T18:53:59.290" v="742" actId="1038"/>
          <ac:cxnSpMkLst>
            <pc:docMk/>
            <pc:sldMk cId="1600847887" sldId="288"/>
            <ac:cxnSpMk id="10" creationId="{6D72F974-0780-1A9A-BEB4-75507BC0F5CF}"/>
          </ac:cxnSpMkLst>
        </pc:cxnChg>
        <pc:cxnChg chg="mod">
          <ac:chgData name="Marco Soares" userId="d0da0a5a-bb2d-4628-9140-122d0f91b28a" providerId="ADAL" clId="{DE1D7259-EAA4-44F5-878A-0D80DBEF94A3}" dt="2022-08-22T18:53:59.290" v="742" actId="1038"/>
          <ac:cxnSpMkLst>
            <pc:docMk/>
            <pc:sldMk cId="1600847887" sldId="288"/>
            <ac:cxnSpMk id="15" creationId="{58556DEE-72F3-5532-D670-92889D6E2761}"/>
          </ac:cxnSpMkLst>
        </pc:cxnChg>
      </pc:sldChg>
      <pc:sldChg chg="addSp delSp modSp mod">
        <pc:chgData name="Marco Soares" userId="d0da0a5a-bb2d-4628-9140-122d0f91b28a" providerId="ADAL" clId="{DE1D7259-EAA4-44F5-878A-0D80DBEF94A3}" dt="2022-08-22T18:56:22.972" v="775" actId="14100"/>
        <pc:sldMkLst>
          <pc:docMk/>
          <pc:sldMk cId="1284903558" sldId="289"/>
        </pc:sldMkLst>
        <pc:spChg chg="mod">
          <ac:chgData name="Marco Soares" userId="d0da0a5a-bb2d-4628-9140-122d0f91b28a" providerId="ADAL" clId="{DE1D7259-EAA4-44F5-878A-0D80DBEF94A3}" dt="2022-08-22T18:56:03.286" v="768" actId="14100"/>
          <ac:spMkLst>
            <pc:docMk/>
            <pc:sldMk cId="1284903558" sldId="289"/>
            <ac:spMk id="2" creationId="{02BF21CC-B0FC-46B0-8D31-EA77C45A889F}"/>
          </ac:spMkLst>
        </pc:spChg>
        <pc:spChg chg="del">
          <ac:chgData name="Marco Soares" userId="d0da0a5a-bb2d-4628-9140-122d0f91b28a" providerId="ADAL" clId="{DE1D7259-EAA4-44F5-878A-0D80DBEF94A3}" dt="2022-08-22T18:54:58.036" v="743" actId="478"/>
          <ac:spMkLst>
            <pc:docMk/>
            <pc:sldMk cId="1284903558" sldId="289"/>
            <ac:spMk id="3" creationId="{D439E6F3-F5DD-4927-9D55-6CD9FB674D3A}"/>
          </ac:spMkLst>
        </pc:spChg>
        <pc:spChg chg="mod">
          <ac:chgData name="Marco Soares" userId="d0da0a5a-bb2d-4628-9140-122d0f91b28a" providerId="ADAL" clId="{DE1D7259-EAA4-44F5-878A-0D80DBEF94A3}" dt="2022-08-22T18:56:22.972" v="775" actId="14100"/>
          <ac:spMkLst>
            <pc:docMk/>
            <pc:sldMk cId="1284903558" sldId="289"/>
            <ac:spMk id="5" creationId="{1E96488A-4624-43A7-9D3C-AB077FCA2828}"/>
          </ac:spMkLst>
        </pc:spChg>
        <pc:spChg chg="add del mod">
          <ac:chgData name="Marco Soares" userId="d0da0a5a-bb2d-4628-9140-122d0f91b28a" providerId="ADAL" clId="{DE1D7259-EAA4-44F5-878A-0D80DBEF94A3}" dt="2022-08-22T18:55:35.562" v="759" actId="478"/>
          <ac:spMkLst>
            <pc:docMk/>
            <pc:sldMk cId="1284903558" sldId="289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7:16:31.847" v="201" actId="478"/>
          <ac:spMkLst>
            <pc:docMk/>
            <pc:sldMk cId="1284903558" sldId="289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7:09.351" v="209" actId="478"/>
          <ac:picMkLst>
            <pc:docMk/>
            <pc:sldMk cId="1284903558" sldId="289"/>
            <ac:picMk id="8" creationId="{6E7653D7-C829-46DE-8342-585482BD0678}"/>
          </ac:picMkLst>
        </pc:picChg>
        <pc:picChg chg="mod">
          <ac:chgData name="Marco Soares" userId="d0da0a5a-bb2d-4628-9140-122d0f91b28a" providerId="ADAL" clId="{DE1D7259-EAA4-44F5-878A-0D80DBEF94A3}" dt="2022-08-22T18:56:06.310" v="769" actId="1076"/>
          <ac:picMkLst>
            <pc:docMk/>
            <pc:sldMk cId="1284903558" sldId="289"/>
            <ac:picMk id="3074" creationId="{0DE943FA-1360-660C-5850-43953E7B32C0}"/>
          </ac:picMkLst>
        </pc:picChg>
      </pc:sldChg>
      <pc:sldChg chg="addSp delSp modSp mod">
        <pc:chgData name="Marco Soares" userId="d0da0a5a-bb2d-4628-9140-122d0f91b28a" providerId="ADAL" clId="{DE1D7259-EAA4-44F5-878A-0D80DBEF94A3}" dt="2022-08-22T17:10:08.165" v="167" actId="478"/>
        <pc:sldMkLst>
          <pc:docMk/>
          <pc:sldMk cId="684873671" sldId="290"/>
        </pc:sldMkLst>
        <pc:spChg chg="del mod">
          <ac:chgData name="Marco Soares" userId="d0da0a5a-bb2d-4628-9140-122d0f91b28a" providerId="ADAL" clId="{DE1D7259-EAA4-44F5-878A-0D80DBEF94A3}" dt="2022-08-22T17:08:39.136" v="147"/>
          <ac:spMkLst>
            <pc:docMk/>
            <pc:sldMk cId="684873671" sldId="290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17:09:52.208" v="161" actId="207"/>
          <ac:spMkLst>
            <pc:docMk/>
            <pc:sldMk cId="684873671" sldId="290"/>
            <ac:spMk id="7" creationId="{3DCC6FF7-848D-0A37-170F-E49CE59321F8}"/>
          </ac:spMkLst>
        </pc:spChg>
        <pc:spChg chg="mod">
          <ac:chgData name="Marco Soares" userId="d0da0a5a-bb2d-4628-9140-122d0f91b28a" providerId="ADAL" clId="{DE1D7259-EAA4-44F5-878A-0D80DBEF94A3}" dt="2022-08-22T17:08:50.313" v="152" actId="20577"/>
          <ac:spMkLst>
            <pc:docMk/>
            <pc:sldMk cId="684873671" sldId="290"/>
            <ac:spMk id="9" creationId="{F12706C9-5B5E-434A-A7A8-CDA43150682D}"/>
          </ac:spMkLst>
        </pc:spChg>
        <pc:spChg chg="add del mod">
          <ac:chgData name="Marco Soares" userId="d0da0a5a-bb2d-4628-9140-122d0f91b28a" providerId="ADAL" clId="{DE1D7259-EAA4-44F5-878A-0D80DBEF94A3}" dt="2022-08-22T17:08:35.196" v="144"/>
          <ac:spMkLst>
            <pc:docMk/>
            <pc:sldMk cId="684873671" sldId="290"/>
            <ac:spMk id="10" creationId="{5A8E3C1E-8A3E-4073-B9BC-23BE2AB3606C}"/>
          </ac:spMkLst>
        </pc:spChg>
        <pc:spChg chg="add del mod">
          <ac:chgData name="Marco Soares" userId="d0da0a5a-bb2d-4628-9140-122d0f91b28a" providerId="ADAL" clId="{DE1D7259-EAA4-44F5-878A-0D80DBEF94A3}" dt="2022-08-22T17:08:46.258" v="150"/>
          <ac:spMkLst>
            <pc:docMk/>
            <pc:sldMk cId="684873671" sldId="290"/>
            <ac:spMk id="12" creationId="{72CB4501-AE8E-46C9-9430-6CB2F1F5B04E}"/>
          </ac:spMkLst>
        </pc:spChg>
        <pc:spChg chg="add del mod">
          <ac:chgData name="Marco Soares" userId="d0da0a5a-bb2d-4628-9140-122d0f91b28a" providerId="ADAL" clId="{DE1D7259-EAA4-44F5-878A-0D80DBEF94A3}" dt="2022-08-22T17:08:39.134" v="145" actId="478"/>
          <ac:spMkLst>
            <pc:docMk/>
            <pc:sldMk cId="684873671" sldId="290"/>
            <ac:spMk id="13" creationId="{ACB38B50-B5C0-44B3-B32B-850E2D69438F}"/>
          </ac:spMkLst>
        </pc:spChg>
        <pc:spChg chg="mod">
          <ac:chgData name="Marco Soares" userId="d0da0a5a-bb2d-4628-9140-122d0f91b28a" providerId="ADAL" clId="{DE1D7259-EAA4-44F5-878A-0D80DBEF94A3}" dt="2022-08-22T17:09:52.208" v="161" actId="207"/>
          <ac:spMkLst>
            <pc:docMk/>
            <pc:sldMk cId="684873671" sldId="290"/>
            <ac:spMk id="70" creationId="{82805E63-5824-B21F-FE4E-72CB9D475BAB}"/>
          </ac:spMkLst>
        </pc:spChg>
        <pc:grpChg chg="add mod">
          <ac:chgData name="Marco Soares" userId="d0da0a5a-bb2d-4628-9140-122d0f91b28a" providerId="ADAL" clId="{DE1D7259-EAA4-44F5-878A-0D80DBEF94A3}" dt="2022-08-22T17:07:46.019" v="134" actId="164"/>
          <ac:grpSpMkLst>
            <pc:docMk/>
            <pc:sldMk cId="684873671" sldId="290"/>
            <ac:grpSpMk id="2" creationId="{EEE2145E-EE20-4805-A666-E788031F2657}"/>
          </ac:grpSpMkLst>
        </pc:grpChg>
        <pc:grpChg chg="add mod">
          <ac:chgData name="Marco Soares" userId="d0da0a5a-bb2d-4628-9140-122d0f91b28a" providerId="ADAL" clId="{DE1D7259-EAA4-44F5-878A-0D80DBEF94A3}" dt="2022-08-22T17:09:19.452" v="158" actId="164"/>
          <ac:grpSpMkLst>
            <pc:docMk/>
            <pc:sldMk cId="684873671" sldId="290"/>
            <ac:grpSpMk id="3" creationId="{45D30CA6-C153-4A34-88E8-57A6A4F54D82}"/>
          </ac:grpSpMkLst>
        </pc:grpChg>
        <pc:grpChg chg="add mod">
          <ac:chgData name="Marco Soares" userId="d0da0a5a-bb2d-4628-9140-122d0f91b28a" providerId="ADAL" clId="{DE1D7259-EAA4-44F5-878A-0D80DBEF94A3}" dt="2022-08-22T17:10:04.670" v="166" actId="1036"/>
          <ac:grpSpMkLst>
            <pc:docMk/>
            <pc:sldMk cId="684873671" sldId="290"/>
            <ac:grpSpMk id="15" creationId="{D6EE705C-C17C-4889-A283-4EBE680A0B61}"/>
          </ac:grpSpMkLst>
        </pc:grp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5" creationId="{37BA6545-E39E-7832-BBBE-49315B3C2D64}"/>
          </ac:picMkLst>
        </pc:pic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11" creationId="{C5C20660-0429-CFA2-54B5-9D123D1BE8F8}"/>
          </ac:picMkLst>
        </pc:pic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14" creationId="{85CF169F-E798-A218-1BC6-4F08DAE8300D}"/>
          </ac:picMkLst>
        </pc:pic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18" creationId="{CEE0E183-B468-4D0B-D3E9-F72DBB28DC52}"/>
          </ac:picMkLst>
        </pc:pic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20" creationId="{C90FC324-CFF1-A7C6-5A8C-B917B9B534A5}"/>
          </ac:picMkLst>
        </pc:pic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22" creationId="{21D6DBF6-786C-F586-16B5-A1DF2051B445}"/>
          </ac:picMkLst>
        </pc:pic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25" creationId="{3F3B9EAB-C9C4-93CA-3470-CC3BFC6E6F93}"/>
          </ac:picMkLst>
        </pc:pic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27" creationId="{70C004DC-B614-0018-6426-404B888A81D3}"/>
          </ac:picMkLst>
        </pc:pic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29" creationId="{E73BDA67-3546-6A5B-271B-3E76EC2BC4EA}"/>
          </ac:picMkLst>
        </pc:pic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32" creationId="{48250D44-732D-67B5-B57D-DD95F4ACFC2D}"/>
          </ac:picMkLst>
        </pc:picChg>
        <pc:picChg chg="del">
          <ac:chgData name="Marco Soares" userId="d0da0a5a-bb2d-4628-9140-122d0f91b28a" providerId="ADAL" clId="{DE1D7259-EAA4-44F5-878A-0D80DBEF94A3}" dt="2022-08-22T17:10:08.165" v="167" actId="478"/>
          <ac:picMkLst>
            <pc:docMk/>
            <pc:sldMk cId="684873671" sldId="290"/>
            <ac:picMk id="33" creationId="{B09F51B0-F2CD-4343-843F-18164D4ECAA7}"/>
          </ac:picMkLst>
        </pc:pic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34" creationId="{AA3D1489-63FC-7AFA-3FBA-848CD5983786}"/>
          </ac:picMkLst>
        </pc:picChg>
        <pc:picChg chg="mod">
          <ac:chgData name="Marco Soares" userId="d0da0a5a-bb2d-4628-9140-122d0f91b28a" providerId="ADAL" clId="{DE1D7259-EAA4-44F5-878A-0D80DBEF94A3}" dt="2022-08-22T17:09:52.208" v="161" actId="207"/>
          <ac:picMkLst>
            <pc:docMk/>
            <pc:sldMk cId="684873671" sldId="290"/>
            <ac:picMk id="37" creationId="{B53F14DE-6468-135B-8BEA-EB82E6FBDC75}"/>
          </ac:picMkLst>
        </pc:pic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8" creationId="{8CBA153F-4C99-201E-C7F2-668B521BBBF4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41" creationId="{21EFD8EF-22F8-7F36-397A-D1E7FE07A8A8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44" creationId="{15EE3A3C-C6AA-9FBE-96DE-8417AC99AE07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54" creationId="{1EDF013E-C811-F161-9881-1B90AAD334CC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57" creationId="{843A5FD9-DCD7-E1AA-1C44-2FE81BB7BD8B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61" creationId="{403FAA9A-2CB2-2262-6E5F-F6198137DAC0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64" creationId="{AB8388D1-3963-889C-0AB9-09FAD107E884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67" creationId="{EFAF2FBD-4921-A3F6-CD62-3244D0960627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71" creationId="{0373F43F-0E51-51B9-D51C-DA6EF337B810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74" creationId="{C9AB2CFB-BE7E-2799-C8B0-1AECFE3B81C9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77" creationId="{8C349B96-D260-80A7-55B4-4204DC45BEAD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82" creationId="{D0089248-E1D4-6C97-CD66-EC63B4382396}"/>
          </ac:cxnSpMkLst>
        </pc:cxnChg>
        <pc:cxnChg chg="mod">
          <ac:chgData name="Marco Soares" userId="d0da0a5a-bb2d-4628-9140-122d0f91b28a" providerId="ADAL" clId="{DE1D7259-EAA4-44F5-878A-0D80DBEF94A3}" dt="2022-08-22T17:09:52.208" v="161" actId="207"/>
          <ac:cxnSpMkLst>
            <pc:docMk/>
            <pc:sldMk cId="684873671" sldId="290"/>
            <ac:cxnSpMk id="85" creationId="{5636409A-76B3-010F-E42E-9EFE7DA98866}"/>
          </ac:cxnSpMkLst>
        </pc:cxnChg>
      </pc:sldChg>
      <pc:sldChg chg="delSp modSp mod">
        <pc:chgData name="Marco Soares" userId="d0da0a5a-bb2d-4628-9140-122d0f91b28a" providerId="ADAL" clId="{DE1D7259-EAA4-44F5-878A-0D80DBEF94A3}" dt="2022-08-22T19:25:29.085" v="794" actId="113"/>
        <pc:sldMkLst>
          <pc:docMk/>
          <pc:sldMk cId="3836526284" sldId="291"/>
        </pc:sldMkLst>
        <pc:spChg chg="mod">
          <ac:chgData name="Marco Soares" userId="d0da0a5a-bb2d-4628-9140-122d0f91b28a" providerId="ADAL" clId="{DE1D7259-EAA4-44F5-878A-0D80DBEF94A3}" dt="2022-08-22T17:17:24.485" v="213" actId="20577"/>
          <ac:spMkLst>
            <pc:docMk/>
            <pc:sldMk cId="3836526284" sldId="291"/>
            <ac:spMk id="2" creationId="{10246B6A-9C3C-4668-B08F-34750CF4CF96}"/>
          </ac:spMkLst>
        </pc:spChg>
        <pc:spChg chg="del">
          <ac:chgData name="Marco Soares" userId="d0da0a5a-bb2d-4628-9140-122d0f91b28a" providerId="ADAL" clId="{DE1D7259-EAA4-44F5-878A-0D80DBEF94A3}" dt="2022-08-22T19:24:46.921" v="778" actId="478"/>
          <ac:spMkLst>
            <pc:docMk/>
            <pc:sldMk cId="3836526284" sldId="291"/>
            <ac:spMk id="3" creationId="{ACD2E53B-723F-42F1-ACC9-D2E4D6A181F7}"/>
          </ac:spMkLst>
        </pc:spChg>
        <pc:spChg chg="mod">
          <ac:chgData name="Marco Soares" userId="d0da0a5a-bb2d-4628-9140-122d0f91b28a" providerId="ADAL" clId="{DE1D7259-EAA4-44F5-878A-0D80DBEF94A3}" dt="2022-08-22T19:25:29.085" v="794" actId="113"/>
          <ac:spMkLst>
            <pc:docMk/>
            <pc:sldMk cId="3836526284" sldId="291"/>
            <ac:spMk id="5" creationId="{C9931537-C32B-4B5E-AD1D-CD673E1A0C40}"/>
          </ac:spMkLst>
        </pc:spChg>
        <pc:spChg chg="del">
          <ac:chgData name="Marco Soares" userId="d0da0a5a-bb2d-4628-9140-122d0f91b28a" providerId="ADAL" clId="{DE1D7259-EAA4-44F5-878A-0D80DBEF94A3}" dt="2022-08-22T19:24:43.832" v="777" actId="478"/>
          <ac:spMkLst>
            <pc:docMk/>
            <pc:sldMk cId="3836526284" sldId="291"/>
            <ac:spMk id="6" creationId="{586B2C00-5802-4710-BA94-2A4BF62B49C3}"/>
          </ac:spMkLst>
        </pc:spChg>
        <pc:spChg chg="del mod">
          <ac:chgData name="Marco Soares" userId="d0da0a5a-bb2d-4628-9140-122d0f91b28a" providerId="ADAL" clId="{DE1D7259-EAA4-44F5-878A-0D80DBEF94A3}" dt="2022-08-22T17:17:21.071" v="211" actId="478"/>
          <ac:spMkLst>
            <pc:docMk/>
            <pc:sldMk cId="3836526284" sldId="291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7:29.264" v="214" actId="478"/>
          <ac:picMkLst>
            <pc:docMk/>
            <pc:sldMk cId="3836526284" sldId="291"/>
            <ac:picMk id="7" creationId="{BFBFA17A-E5B7-4C2B-BAC1-FFA1A2103B85}"/>
          </ac:picMkLst>
        </pc:picChg>
      </pc:sldChg>
      <pc:sldChg chg="delSp modSp mod">
        <pc:chgData name="Marco Soares" userId="d0da0a5a-bb2d-4628-9140-122d0f91b28a" providerId="ADAL" clId="{DE1D7259-EAA4-44F5-878A-0D80DBEF94A3}" dt="2022-08-22T19:34:11.758" v="815" actId="113"/>
        <pc:sldMkLst>
          <pc:docMk/>
          <pc:sldMk cId="4026764502" sldId="292"/>
        </pc:sldMkLst>
        <pc:spChg chg="mod">
          <ac:chgData name="Marco Soares" userId="d0da0a5a-bb2d-4628-9140-122d0f91b28a" providerId="ADAL" clId="{DE1D7259-EAA4-44F5-878A-0D80DBEF94A3}" dt="2022-08-22T17:17:40.688" v="218"/>
          <ac:spMkLst>
            <pc:docMk/>
            <pc:sldMk cId="4026764502" sldId="292"/>
            <ac:spMk id="2" creationId="{A0AFED74-BCA4-4E4B-88E5-E188D943D720}"/>
          </ac:spMkLst>
        </pc:spChg>
        <pc:spChg chg="del">
          <ac:chgData name="Marco Soares" userId="d0da0a5a-bb2d-4628-9140-122d0f91b28a" providerId="ADAL" clId="{DE1D7259-EAA4-44F5-878A-0D80DBEF94A3}" dt="2022-08-22T19:27:45.845" v="798" actId="478"/>
          <ac:spMkLst>
            <pc:docMk/>
            <pc:sldMk cId="4026764502" sldId="292"/>
            <ac:spMk id="3" creationId="{C0AABE63-E732-46B3-BD2C-F7DF76A51F8A}"/>
          </ac:spMkLst>
        </pc:spChg>
        <pc:spChg chg="del mod">
          <ac:chgData name="Marco Soares" userId="d0da0a5a-bb2d-4628-9140-122d0f91b28a" providerId="ADAL" clId="{DE1D7259-EAA4-44F5-878A-0D80DBEF94A3}" dt="2022-08-22T17:17:39.073" v="217" actId="478"/>
          <ac:spMkLst>
            <pc:docMk/>
            <pc:sldMk cId="4026764502" sldId="292"/>
            <ac:spMk id="4" creationId="{00000000-0000-0000-0000-000000000000}"/>
          </ac:spMkLst>
        </pc:spChg>
        <pc:spChg chg="mod">
          <ac:chgData name="Marco Soares" userId="d0da0a5a-bb2d-4628-9140-122d0f91b28a" providerId="ADAL" clId="{DE1D7259-EAA4-44F5-878A-0D80DBEF94A3}" dt="2022-08-22T19:34:11.758" v="815" actId="113"/>
          <ac:spMkLst>
            <pc:docMk/>
            <pc:sldMk cId="4026764502" sldId="292"/>
            <ac:spMk id="5" creationId="{67826189-664E-4411-93D8-B6763A513818}"/>
          </ac:spMkLst>
        </pc:spChg>
        <pc:spChg chg="del mod">
          <ac:chgData name="Marco Soares" userId="d0da0a5a-bb2d-4628-9140-122d0f91b28a" providerId="ADAL" clId="{DE1D7259-EAA4-44F5-878A-0D80DBEF94A3}" dt="2022-08-22T19:27:43.592" v="797"/>
          <ac:spMkLst>
            <pc:docMk/>
            <pc:sldMk cId="4026764502" sldId="292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7:17:33.988" v="215" actId="478"/>
          <ac:spMkLst>
            <pc:docMk/>
            <pc:sldMk cId="4026764502" sldId="292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7:43.214" v="219" actId="478"/>
          <ac:picMkLst>
            <pc:docMk/>
            <pc:sldMk cId="4026764502" sldId="292"/>
            <ac:picMk id="7" creationId="{79C161C2-D1F9-4409-B7B8-ECCE17E60534}"/>
          </ac:picMkLst>
        </pc:picChg>
      </pc:sldChg>
      <pc:sldChg chg="delSp modSp mod">
        <pc:chgData name="Marco Soares" userId="d0da0a5a-bb2d-4628-9140-122d0f91b28a" providerId="ADAL" clId="{DE1D7259-EAA4-44F5-878A-0D80DBEF94A3}" dt="2022-08-22T20:53:52.166" v="1026" actId="113"/>
        <pc:sldMkLst>
          <pc:docMk/>
          <pc:sldMk cId="1463789910" sldId="293"/>
        </pc:sldMkLst>
        <pc:spChg chg="mod">
          <ac:chgData name="Marco Soares" userId="d0da0a5a-bb2d-4628-9140-122d0f91b28a" providerId="ADAL" clId="{DE1D7259-EAA4-44F5-878A-0D80DBEF94A3}" dt="2022-08-22T20:44:20.849" v="1017" actId="14100"/>
          <ac:spMkLst>
            <pc:docMk/>
            <pc:sldMk cId="1463789910" sldId="293"/>
            <ac:spMk id="2" creationId="{59BA3356-AEC2-48C6-A2CA-B5A9EC03440E}"/>
          </ac:spMkLst>
        </pc:spChg>
        <pc:spChg chg="del">
          <ac:chgData name="Marco Soares" userId="d0da0a5a-bb2d-4628-9140-122d0f91b28a" providerId="ADAL" clId="{DE1D7259-EAA4-44F5-878A-0D80DBEF94A3}" dt="2022-08-22T20:44:14.965" v="1016" actId="478"/>
          <ac:spMkLst>
            <pc:docMk/>
            <pc:sldMk cId="1463789910" sldId="293"/>
            <ac:spMk id="3" creationId="{199015E1-BC7F-4BC8-A498-A1F7214EDD74}"/>
          </ac:spMkLst>
        </pc:spChg>
        <pc:spChg chg="del">
          <ac:chgData name="Marco Soares" userId="d0da0a5a-bb2d-4628-9140-122d0f91b28a" providerId="ADAL" clId="{DE1D7259-EAA4-44F5-878A-0D80DBEF94A3}" dt="2022-08-22T17:17:52.959" v="222" actId="478"/>
          <ac:spMkLst>
            <pc:docMk/>
            <pc:sldMk cId="1463789910" sldId="293"/>
            <ac:spMk id="4" creationId="{00000000-0000-0000-0000-000000000000}"/>
          </ac:spMkLst>
        </pc:spChg>
        <pc:spChg chg="mod">
          <ac:chgData name="Marco Soares" userId="d0da0a5a-bb2d-4628-9140-122d0f91b28a" providerId="ADAL" clId="{DE1D7259-EAA4-44F5-878A-0D80DBEF94A3}" dt="2022-08-22T20:53:52.166" v="1026" actId="113"/>
          <ac:spMkLst>
            <pc:docMk/>
            <pc:sldMk cId="1463789910" sldId="293"/>
            <ac:spMk id="5" creationId="{613B8C32-7515-4792-8635-2D311CA830C1}"/>
          </ac:spMkLst>
        </pc:spChg>
        <pc:spChg chg="del mod">
          <ac:chgData name="Marco Soares" userId="d0da0a5a-bb2d-4628-9140-122d0f91b28a" providerId="ADAL" clId="{DE1D7259-EAA4-44F5-878A-0D80DBEF94A3}" dt="2022-08-22T20:43:55.501" v="1011"/>
          <ac:spMkLst>
            <pc:docMk/>
            <pc:sldMk cId="1463789910" sldId="293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7:17:50.924" v="221" actId="478"/>
          <ac:spMkLst>
            <pc:docMk/>
            <pc:sldMk cId="1463789910" sldId="293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7:47.549" v="220" actId="478"/>
          <ac:picMkLst>
            <pc:docMk/>
            <pc:sldMk cId="1463789910" sldId="293"/>
            <ac:picMk id="10" creationId="{8EE01BDA-9ACB-4364-A102-E27E1828B995}"/>
          </ac:picMkLst>
        </pc:picChg>
      </pc:sldChg>
      <pc:sldChg chg="addSp delSp modSp mod">
        <pc:chgData name="Marco Soares" userId="d0da0a5a-bb2d-4628-9140-122d0f91b28a" providerId="ADAL" clId="{DE1D7259-EAA4-44F5-878A-0D80DBEF94A3}" dt="2022-08-22T20:27:38.817" v="1007" actId="478"/>
        <pc:sldMkLst>
          <pc:docMk/>
          <pc:sldMk cId="4049873834" sldId="294"/>
        </pc:sldMkLst>
        <pc:spChg chg="mod">
          <ac:chgData name="Marco Soares" userId="d0da0a5a-bb2d-4628-9140-122d0f91b28a" providerId="ADAL" clId="{DE1D7259-EAA4-44F5-878A-0D80DBEF94A3}" dt="2022-08-22T17:18:06.868" v="227"/>
          <ac:spMkLst>
            <pc:docMk/>
            <pc:sldMk cId="4049873834" sldId="294"/>
            <ac:spMk id="2" creationId="{C6CA4614-AC04-4592-A1A6-2B965410C1BB}"/>
          </ac:spMkLst>
        </pc:spChg>
        <pc:spChg chg="del">
          <ac:chgData name="Marco Soares" userId="d0da0a5a-bb2d-4628-9140-122d0f91b28a" providerId="ADAL" clId="{DE1D7259-EAA4-44F5-878A-0D80DBEF94A3}" dt="2022-08-22T17:18:02.099" v="225" actId="478"/>
          <ac:spMkLst>
            <pc:docMk/>
            <pc:sldMk cId="4049873834" sldId="294"/>
            <ac:spMk id="4" creationId="{00000000-0000-0000-0000-000000000000}"/>
          </ac:spMkLst>
        </pc:spChg>
        <pc:spChg chg="del">
          <ac:chgData name="Marco Soares" userId="d0da0a5a-bb2d-4628-9140-122d0f91b28a" providerId="ADAL" clId="{DE1D7259-EAA4-44F5-878A-0D80DBEF94A3}" dt="2022-08-22T20:27:38.817" v="1007" actId="478"/>
          <ac:spMkLst>
            <pc:docMk/>
            <pc:sldMk cId="4049873834" sldId="294"/>
            <ac:spMk id="5" creationId="{9F51CD8F-FEDF-4FB3-8E3D-39D67280B79F}"/>
          </ac:spMkLst>
        </pc:spChg>
        <pc:spChg chg="add del mod">
          <ac:chgData name="Marco Soares" userId="d0da0a5a-bb2d-4628-9140-122d0f91b28a" providerId="ADAL" clId="{DE1D7259-EAA4-44F5-878A-0D80DBEF94A3}" dt="2022-08-22T20:27:08.434" v="997" actId="478"/>
          <ac:spMkLst>
            <pc:docMk/>
            <pc:sldMk cId="4049873834" sldId="294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20:27:35.969" v="1006" actId="14100"/>
          <ac:spMkLst>
            <pc:docMk/>
            <pc:sldMk cId="4049873834" sldId="294"/>
            <ac:spMk id="8" creationId="{4D404AE3-C9B2-4412-8031-6232B38199AB}"/>
          </ac:spMkLst>
        </pc:spChg>
        <pc:spChg chg="del">
          <ac:chgData name="Marco Soares" userId="d0da0a5a-bb2d-4628-9140-122d0f91b28a" providerId="ADAL" clId="{DE1D7259-EAA4-44F5-878A-0D80DBEF94A3}" dt="2022-08-22T17:18:05.294" v="226" actId="478"/>
          <ac:spMkLst>
            <pc:docMk/>
            <pc:sldMk cId="4049873834" sldId="294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7:59.319" v="224" actId="478"/>
          <ac:picMkLst>
            <pc:docMk/>
            <pc:sldMk cId="4049873834" sldId="294"/>
            <ac:picMk id="10" creationId="{87A2C2A9-F896-4FEF-85A8-08032970730D}"/>
          </ac:picMkLst>
        </pc:picChg>
      </pc:sldChg>
      <pc:sldChg chg="addSp delSp modSp mod chgLayout">
        <pc:chgData name="Marco Soares" userId="d0da0a5a-bb2d-4628-9140-122d0f91b28a" providerId="ADAL" clId="{DE1D7259-EAA4-44F5-878A-0D80DBEF94A3}" dt="2022-08-22T20:26:03.472" v="984" actId="14100"/>
        <pc:sldMkLst>
          <pc:docMk/>
          <pc:sldMk cId="405932269" sldId="295"/>
        </pc:sldMkLst>
        <pc:spChg chg="mod ord">
          <ac:chgData name="Marco Soares" userId="d0da0a5a-bb2d-4628-9140-122d0f91b28a" providerId="ADAL" clId="{DE1D7259-EAA4-44F5-878A-0D80DBEF94A3}" dt="2022-08-22T20:25:16.109" v="970" actId="700"/>
          <ac:spMkLst>
            <pc:docMk/>
            <pc:sldMk cId="405932269" sldId="295"/>
            <ac:spMk id="2" creationId="{9B250C46-2B32-49A8-94DD-8DF629E5737E}"/>
          </ac:spMkLst>
        </pc:spChg>
        <pc:spChg chg="del">
          <ac:chgData name="Marco Soares" userId="d0da0a5a-bb2d-4628-9140-122d0f91b28a" providerId="ADAL" clId="{DE1D7259-EAA4-44F5-878A-0D80DBEF94A3}" dt="2022-08-22T20:24:58.180" v="966" actId="478"/>
          <ac:spMkLst>
            <pc:docMk/>
            <pc:sldMk cId="405932269" sldId="295"/>
            <ac:spMk id="3" creationId="{BB3FF922-CADE-49C7-A5FF-C7D56439DD97}"/>
          </ac:spMkLst>
        </pc:spChg>
        <pc:spChg chg="del">
          <ac:chgData name="Marco Soares" userId="d0da0a5a-bb2d-4628-9140-122d0f91b28a" providerId="ADAL" clId="{DE1D7259-EAA4-44F5-878A-0D80DBEF94A3}" dt="2022-08-22T17:18:16.109" v="230" actId="478"/>
          <ac:spMkLst>
            <pc:docMk/>
            <pc:sldMk cId="405932269" sldId="295"/>
            <ac:spMk id="4" creationId="{00000000-0000-0000-0000-000000000000}"/>
          </ac:spMkLst>
        </pc:spChg>
        <pc:spChg chg="add del mod ord">
          <ac:chgData name="Marco Soares" userId="d0da0a5a-bb2d-4628-9140-122d0f91b28a" providerId="ADAL" clId="{DE1D7259-EAA4-44F5-878A-0D80DBEF94A3}" dt="2022-08-22T20:25:19.129" v="971" actId="478"/>
          <ac:spMkLst>
            <pc:docMk/>
            <pc:sldMk cId="405932269" sldId="295"/>
            <ac:spMk id="4" creationId="{C341F9D4-F580-4350-8FC5-C74C491CBFF2}"/>
          </ac:spMkLst>
        </pc:spChg>
        <pc:spChg chg="del">
          <ac:chgData name="Marco Soares" userId="d0da0a5a-bb2d-4628-9140-122d0f91b28a" providerId="ADAL" clId="{DE1D7259-EAA4-44F5-878A-0D80DBEF94A3}" dt="2022-08-22T20:24:20.415" v="965" actId="478"/>
          <ac:spMkLst>
            <pc:docMk/>
            <pc:sldMk cId="405932269" sldId="295"/>
            <ac:spMk id="5" creationId="{234DAB31-435C-488D-BD9A-19E96F9A59B2}"/>
          </ac:spMkLst>
        </pc:spChg>
        <pc:spChg chg="del mod">
          <ac:chgData name="Marco Soares" userId="d0da0a5a-bb2d-4628-9140-122d0f91b28a" providerId="ADAL" clId="{DE1D7259-EAA4-44F5-878A-0D80DBEF94A3}" dt="2022-08-22T20:25:06.799" v="969"/>
          <ac:spMkLst>
            <pc:docMk/>
            <pc:sldMk cId="405932269" sldId="295"/>
            <ac:spMk id="6" creationId="{586B2C00-5802-4710-BA94-2A4BF62B49C3}"/>
          </ac:spMkLst>
        </pc:spChg>
        <pc:spChg chg="add mod ord">
          <ac:chgData name="Marco Soares" userId="d0da0a5a-bb2d-4628-9140-122d0f91b28a" providerId="ADAL" clId="{DE1D7259-EAA4-44F5-878A-0D80DBEF94A3}" dt="2022-08-22T20:26:03.472" v="984" actId="14100"/>
          <ac:spMkLst>
            <pc:docMk/>
            <pc:sldMk cId="405932269" sldId="295"/>
            <ac:spMk id="7" creationId="{F9844F8D-FC0E-445A-8A16-4BFCB058520F}"/>
          </ac:spMkLst>
        </pc:spChg>
        <pc:spChg chg="del">
          <ac:chgData name="Marco Soares" userId="d0da0a5a-bb2d-4628-9140-122d0f91b28a" providerId="ADAL" clId="{DE1D7259-EAA4-44F5-878A-0D80DBEF94A3}" dt="2022-08-22T17:18:14.463" v="229" actId="478"/>
          <ac:spMkLst>
            <pc:docMk/>
            <pc:sldMk cId="405932269" sldId="295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8:11.239" v="228" actId="478"/>
          <ac:picMkLst>
            <pc:docMk/>
            <pc:sldMk cId="405932269" sldId="295"/>
            <ac:picMk id="8" creationId="{CF1E8A32-282D-4D9E-A31F-F8F7BF563457}"/>
          </ac:picMkLst>
        </pc:picChg>
      </pc:sldChg>
      <pc:sldChg chg="delSp modSp mod">
        <pc:chgData name="Marco Soares" userId="d0da0a5a-bb2d-4628-9140-122d0f91b28a" providerId="ADAL" clId="{DE1D7259-EAA4-44F5-878A-0D80DBEF94A3}" dt="2022-08-22T20:24:09.301" v="964" actId="1035"/>
        <pc:sldMkLst>
          <pc:docMk/>
          <pc:sldMk cId="1520568141" sldId="296"/>
        </pc:sldMkLst>
        <pc:spChg chg="mod">
          <ac:chgData name="Marco Soares" userId="d0da0a5a-bb2d-4628-9140-122d0f91b28a" providerId="ADAL" clId="{DE1D7259-EAA4-44F5-878A-0D80DBEF94A3}" dt="2022-08-22T20:24:00.831" v="956" actId="14100"/>
          <ac:spMkLst>
            <pc:docMk/>
            <pc:sldMk cId="1520568141" sldId="296"/>
            <ac:spMk id="2" creationId="{6F08F7D6-1E7C-4A4E-B406-BE04C3F5370A}"/>
          </ac:spMkLst>
        </pc:spChg>
        <pc:spChg chg="del">
          <ac:chgData name="Marco Soares" userId="d0da0a5a-bb2d-4628-9140-122d0f91b28a" providerId="ADAL" clId="{DE1D7259-EAA4-44F5-878A-0D80DBEF94A3}" dt="2022-08-22T17:18:33.784" v="236" actId="478"/>
          <ac:spMkLst>
            <pc:docMk/>
            <pc:sldMk cId="1520568141" sldId="296"/>
            <ac:spMk id="4" creationId="{00000000-0000-0000-0000-000000000000}"/>
          </ac:spMkLst>
        </pc:spChg>
        <pc:spChg chg="del">
          <ac:chgData name="Marco Soares" userId="d0da0a5a-bb2d-4628-9140-122d0f91b28a" providerId="ADAL" clId="{DE1D7259-EAA4-44F5-878A-0D80DBEF94A3}" dt="2022-08-22T20:23:45.759" v="953" actId="478"/>
          <ac:spMkLst>
            <pc:docMk/>
            <pc:sldMk cId="1520568141" sldId="296"/>
            <ac:spMk id="5" creationId="{A717FF05-83A0-4AB5-A074-6A57E9558740}"/>
          </ac:spMkLst>
        </pc:spChg>
        <pc:spChg chg="mod">
          <ac:chgData name="Marco Soares" userId="d0da0a5a-bb2d-4628-9140-122d0f91b28a" providerId="ADAL" clId="{DE1D7259-EAA4-44F5-878A-0D80DBEF94A3}" dt="2022-08-22T20:24:09.301" v="964" actId="1035"/>
          <ac:spMkLst>
            <pc:docMk/>
            <pc:sldMk cId="1520568141" sldId="296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20:23:37.046" v="952" actId="478"/>
          <ac:spMkLst>
            <pc:docMk/>
            <pc:sldMk cId="1520568141" sldId="296"/>
            <ac:spMk id="7" creationId="{766E2FE2-A0F2-44AD-80EB-0E5AD9AD3235}"/>
          </ac:spMkLst>
        </pc:spChg>
        <pc:spChg chg="del mod">
          <ac:chgData name="Marco Soares" userId="d0da0a5a-bb2d-4628-9140-122d0f91b28a" providerId="ADAL" clId="{DE1D7259-EAA4-44F5-878A-0D80DBEF94A3}" dt="2022-08-22T17:18:32.503" v="235"/>
          <ac:spMkLst>
            <pc:docMk/>
            <pc:sldMk cId="1520568141" sldId="296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8:25.923" v="232" actId="478"/>
          <ac:picMkLst>
            <pc:docMk/>
            <pc:sldMk cId="1520568141" sldId="296"/>
            <ac:picMk id="8" creationId="{F428DB5F-0D15-41EE-9BB1-4094C8526E94}"/>
          </ac:picMkLst>
        </pc:picChg>
      </pc:sldChg>
      <pc:sldChg chg="delSp modSp mod">
        <pc:chgData name="Marco Soares" userId="d0da0a5a-bb2d-4628-9140-122d0f91b28a" providerId="ADAL" clId="{DE1D7259-EAA4-44F5-878A-0D80DBEF94A3}" dt="2022-08-22T20:23:16.371" v="951" actId="1076"/>
        <pc:sldMkLst>
          <pc:docMk/>
          <pc:sldMk cId="44459664" sldId="297"/>
        </pc:sldMkLst>
        <pc:spChg chg="mod">
          <ac:chgData name="Marco Soares" userId="d0da0a5a-bb2d-4628-9140-122d0f91b28a" providerId="ADAL" clId="{DE1D7259-EAA4-44F5-878A-0D80DBEF94A3}" dt="2022-08-22T20:23:12.310" v="950" actId="14100"/>
          <ac:spMkLst>
            <pc:docMk/>
            <pc:sldMk cId="44459664" sldId="297"/>
            <ac:spMk id="2" creationId="{DF608127-B92F-401D-8BE0-795E5B6F34D8}"/>
          </ac:spMkLst>
        </pc:spChg>
        <pc:spChg chg="del">
          <ac:chgData name="Marco Soares" userId="d0da0a5a-bb2d-4628-9140-122d0f91b28a" providerId="ADAL" clId="{DE1D7259-EAA4-44F5-878A-0D80DBEF94A3}" dt="2022-08-22T20:22:58.225" v="947" actId="478"/>
          <ac:spMkLst>
            <pc:docMk/>
            <pc:sldMk cId="44459664" sldId="297"/>
            <ac:spMk id="3" creationId="{3FACD863-8F4F-4DB3-A7B7-BC8FEE4DB2B9}"/>
          </ac:spMkLst>
        </pc:spChg>
        <pc:spChg chg="del">
          <ac:chgData name="Marco Soares" userId="d0da0a5a-bb2d-4628-9140-122d0f91b28a" providerId="ADAL" clId="{DE1D7259-EAA4-44F5-878A-0D80DBEF94A3}" dt="2022-08-22T17:18:48.118" v="241" actId="478"/>
          <ac:spMkLst>
            <pc:docMk/>
            <pc:sldMk cId="44459664" sldId="297"/>
            <ac:spMk id="4" creationId="{00000000-0000-0000-0000-000000000000}"/>
          </ac:spMkLst>
        </pc:spChg>
        <pc:spChg chg="del">
          <ac:chgData name="Marco Soares" userId="d0da0a5a-bb2d-4628-9140-122d0f91b28a" providerId="ADAL" clId="{DE1D7259-EAA4-44F5-878A-0D80DBEF94A3}" dt="2022-08-22T20:22:49.575" v="946" actId="478"/>
          <ac:spMkLst>
            <pc:docMk/>
            <pc:sldMk cId="44459664" sldId="297"/>
            <ac:spMk id="5" creationId="{282CC909-F36F-4E67-B197-7892A1BB2BDC}"/>
          </ac:spMkLst>
        </pc:spChg>
        <pc:spChg chg="mod">
          <ac:chgData name="Marco Soares" userId="d0da0a5a-bb2d-4628-9140-122d0f91b28a" providerId="ADAL" clId="{DE1D7259-EAA4-44F5-878A-0D80DBEF94A3}" dt="2022-08-22T20:23:16.371" v="951" actId="1076"/>
          <ac:spMkLst>
            <pc:docMk/>
            <pc:sldMk cId="44459664" sldId="297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7:18:50.259" v="242" actId="478"/>
          <ac:spMkLst>
            <pc:docMk/>
            <pc:sldMk cId="44459664" sldId="297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8:44.852" v="239" actId="478"/>
          <ac:picMkLst>
            <pc:docMk/>
            <pc:sldMk cId="44459664" sldId="297"/>
            <ac:picMk id="13" creationId="{A86CEE04-0CF4-4849-8163-01E80EDEF957}"/>
          </ac:picMkLst>
        </pc:picChg>
      </pc:sldChg>
      <pc:sldChg chg="delSp modSp mod">
        <pc:chgData name="Marco Soares" userId="d0da0a5a-bb2d-4628-9140-122d0f91b28a" providerId="ADAL" clId="{DE1D7259-EAA4-44F5-878A-0D80DBEF94A3}" dt="2022-08-22T20:22:19.618" v="945" actId="113"/>
        <pc:sldMkLst>
          <pc:docMk/>
          <pc:sldMk cId="551663581" sldId="298"/>
        </pc:sldMkLst>
        <pc:spChg chg="mod">
          <ac:chgData name="Marco Soares" userId="d0da0a5a-bb2d-4628-9140-122d0f91b28a" providerId="ADAL" clId="{DE1D7259-EAA4-44F5-878A-0D80DBEF94A3}" dt="2022-08-22T17:19:01.657" v="246"/>
          <ac:spMkLst>
            <pc:docMk/>
            <pc:sldMk cId="551663581" sldId="298"/>
            <ac:spMk id="2" creationId="{53251393-CBBE-434A-985E-4E9191C03F74}"/>
          </ac:spMkLst>
        </pc:spChg>
        <pc:spChg chg="del">
          <ac:chgData name="Marco Soares" userId="d0da0a5a-bb2d-4628-9140-122d0f91b28a" providerId="ADAL" clId="{DE1D7259-EAA4-44F5-878A-0D80DBEF94A3}" dt="2022-08-22T20:21:57.926" v="936" actId="478"/>
          <ac:spMkLst>
            <pc:docMk/>
            <pc:sldMk cId="551663581" sldId="298"/>
            <ac:spMk id="3" creationId="{49DA6DE5-1EE5-46BE-9A0D-EFF7CED1305F}"/>
          </ac:spMkLst>
        </pc:spChg>
        <pc:spChg chg="del">
          <ac:chgData name="Marco Soares" userId="d0da0a5a-bb2d-4628-9140-122d0f91b28a" providerId="ADAL" clId="{DE1D7259-EAA4-44F5-878A-0D80DBEF94A3}" dt="2022-08-22T17:18:59.421" v="245" actId="478"/>
          <ac:spMkLst>
            <pc:docMk/>
            <pc:sldMk cId="551663581" sldId="298"/>
            <ac:spMk id="4" creationId="{00000000-0000-0000-0000-000000000000}"/>
          </ac:spMkLst>
        </pc:spChg>
        <pc:spChg chg="mod">
          <ac:chgData name="Marco Soares" userId="d0da0a5a-bb2d-4628-9140-122d0f91b28a" providerId="ADAL" clId="{DE1D7259-EAA4-44F5-878A-0D80DBEF94A3}" dt="2022-08-22T20:22:19.618" v="945" actId="113"/>
          <ac:spMkLst>
            <pc:docMk/>
            <pc:sldMk cId="551663581" sldId="298"/>
            <ac:spMk id="5" creationId="{6F8C6570-2044-4CC3-A772-B5942935E82A}"/>
          </ac:spMkLst>
        </pc:spChg>
        <pc:spChg chg="del mod">
          <ac:chgData name="Marco Soares" userId="d0da0a5a-bb2d-4628-9140-122d0f91b28a" providerId="ADAL" clId="{DE1D7259-EAA4-44F5-878A-0D80DBEF94A3}" dt="2022-08-22T20:21:52.570" v="935"/>
          <ac:spMkLst>
            <pc:docMk/>
            <pc:sldMk cId="551663581" sldId="298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7:18:57.953" v="244" actId="478"/>
          <ac:spMkLst>
            <pc:docMk/>
            <pc:sldMk cId="551663581" sldId="298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8:54.967" v="243" actId="478"/>
          <ac:picMkLst>
            <pc:docMk/>
            <pc:sldMk cId="551663581" sldId="298"/>
            <ac:picMk id="10" creationId="{E6103CED-5B61-4D18-9918-93B6A89CF7AC}"/>
          </ac:picMkLst>
        </pc:picChg>
      </pc:sldChg>
      <pc:sldChg chg="addSp delSp modSp mod modClrScheme chgLayout">
        <pc:chgData name="Marco Soares" userId="d0da0a5a-bb2d-4628-9140-122d0f91b28a" providerId="ADAL" clId="{DE1D7259-EAA4-44F5-878A-0D80DBEF94A3}" dt="2022-08-22T17:54:18.002" v="547" actId="1076"/>
        <pc:sldMkLst>
          <pc:docMk/>
          <pc:sldMk cId="4076911289" sldId="299"/>
        </pc:sldMkLst>
        <pc:spChg chg="add mod ord">
          <ac:chgData name="Marco Soares" userId="d0da0a5a-bb2d-4628-9140-122d0f91b28a" providerId="ADAL" clId="{DE1D7259-EAA4-44F5-878A-0D80DBEF94A3}" dt="2022-08-22T17:54:00.091" v="543" actId="1076"/>
          <ac:spMkLst>
            <pc:docMk/>
            <pc:sldMk cId="4076911289" sldId="299"/>
            <ac:spMk id="2" creationId="{03654934-6F9D-48DD-BAEE-FFC10BC216FE}"/>
          </ac:spMkLst>
        </pc:spChg>
        <pc:spChg chg="add del mod ord">
          <ac:chgData name="Marco Soares" userId="d0da0a5a-bb2d-4628-9140-122d0f91b28a" providerId="ADAL" clId="{DE1D7259-EAA4-44F5-878A-0D80DBEF94A3}" dt="2022-08-22T17:51:51.361" v="529" actId="478"/>
          <ac:spMkLst>
            <pc:docMk/>
            <pc:sldMk cId="4076911289" sldId="299"/>
            <ac:spMk id="3" creationId="{6CA1DC39-C45A-46BC-A0CA-04D7EFDFB11C}"/>
          </ac:spMkLst>
        </pc:spChg>
        <pc:spChg chg="add del mod ord">
          <ac:chgData name="Marco Soares" userId="d0da0a5a-bb2d-4628-9140-122d0f91b28a" providerId="ADAL" clId="{DE1D7259-EAA4-44F5-878A-0D80DBEF94A3}" dt="2022-08-22T17:51:54.592" v="530" actId="478"/>
          <ac:spMkLst>
            <pc:docMk/>
            <pc:sldMk cId="4076911289" sldId="299"/>
            <ac:spMk id="5" creationId="{E7B5C5F5-D314-4DC7-B787-44A134943711}"/>
          </ac:spMkLst>
        </pc:spChg>
        <pc:spChg chg="mod">
          <ac:chgData name="Marco Soares" userId="d0da0a5a-bb2d-4628-9140-122d0f91b28a" providerId="ADAL" clId="{DE1D7259-EAA4-44F5-878A-0D80DBEF94A3}" dt="2022-08-22T17:54:15.786" v="546" actId="1076"/>
          <ac:spMkLst>
            <pc:docMk/>
            <pc:sldMk cId="4076911289" sldId="299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17:54:18.002" v="547" actId="1076"/>
          <ac:spMkLst>
            <pc:docMk/>
            <pc:sldMk cId="4076911289" sldId="299"/>
            <ac:spMk id="7" creationId="{564D9FA4-543C-B53C-ECE5-6F0B504D769D}"/>
          </ac:spMkLst>
        </pc:spChg>
        <pc:spChg chg="del mod">
          <ac:chgData name="Marco Soares" userId="d0da0a5a-bb2d-4628-9140-122d0f91b28a" providerId="ADAL" clId="{DE1D7259-EAA4-44F5-878A-0D80DBEF94A3}" dt="2022-08-22T17:04:58.110" v="100"/>
          <ac:spMkLst>
            <pc:docMk/>
            <pc:sldMk cId="4076911289" sldId="299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05:05.869" v="101" actId="478"/>
          <ac:picMkLst>
            <pc:docMk/>
            <pc:sldMk cId="4076911289" sldId="299"/>
            <ac:picMk id="8" creationId="{4AC47B3E-95E4-4063-BD29-6BA3412F9442}"/>
          </ac:picMkLst>
        </pc:picChg>
      </pc:sldChg>
      <pc:sldChg chg="addSp delSp modSp mod modClrScheme chgLayout">
        <pc:chgData name="Marco Soares" userId="d0da0a5a-bb2d-4628-9140-122d0f91b28a" providerId="ADAL" clId="{DE1D7259-EAA4-44F5-878A-0D80DBEF94A3}" dt="2022-08-22T18:44:58.081" v="654" actId="207"/>
        <pc:sldMkLst>
          <pc:docMk/>
          <pc:sldMk cId="1851178551" sldId="300"/>
        </pc:sldMkLst>
        <pc:spChg chg="add mod ord">
          <ac:chgData name="Marco Soares" userId="d0da0a5a-bb2d-4628-9140-122d0f91b28a" providerId="ADAL" clId="{DE1D7259-EAA4-44F5-878A-0D80DBEF94A3}" dt="2022-08-22T17:05:12.795" v="103"/>
          <ac:spMkLst>
            <pc:docMk/>
            <pc:sldMk cId="1851178551" sldId="300"/>
            <ac:spMk id="2" creationId="{07A56119-ADF2-4F6E-BC1C-E8B928F70C5B}"/>
          </ac:spMkLst>
        </pc:spChg>
        <pc:spChg chg="add mod ord">
          <ac:chgData name="Marco Soares" userId="d0da0a5a-bb2d-4628-9140-122d0f91b28a" providerId="ADAL" clId="{DE1D7259-EAA4-44F5-878A-0D80DBEF94A3}" dt="2022-08-22T17:54:55.442" v="552" actId="20577"/>
          <ac:spMkLst>
            <pc:docMk/>
            <pc:sldMk cId="1851178551" sldId="300"/>
            <ac:spMk id="3" creationId="{E659B5F6-4F83-4BCB-9A98-4AFA779543A3}"/>
          </ac:spMkLst>
        </pc:spChg>
        <pc:spChg chg="del">
          <ac:chgData name="Marco Soares" userId="d0da0a5a-bb2d-4628-9140-122d0f91b28a" providerId="ADAL" clId="{DE1D7259-EAA4-44F5-878A-0D80DBEF94A3}" dt="2022-08-22T17:05:11.509" v="102" actId="478"/>
          <ac:spMkLst>
            <pc:docMk/>
            <pc:sldMk cId="1851178551" sldId="300"/>
            <ac:spMk id="4" creationId="{00000000-0000-0000-0000-000000000000}"/>
          </ac:spMkLst>
        </pc:spChg>
        <pc:spChg chg="add del mod ord">
          <ac:chgData name="Marco Soares" userId="d0da0a5a-bb2d-4628-9140-122d0f91b28a" providerId="ADAL" clId="{DE1D7259-EAA4-44F5-878A-0D80DBEF94A3}" dt="2022-08-22T18:34:37.150" v="553" actId="478"/>
          <ac:spMkLst>
            <pc:docMk/>
            <pc:sldMk cId="1851178551" sldId="300"/>
            <ac:spMk id="5" creationId="{EF0A4DC9-7F5E-4F97-9932-346A7FDFE664}"/>
          </ac:spMkLst>
        </pc:spChg>
        <pc:spChg chg="mod">
          <ac:chgData name="Marco Soares" userId="d0da0a5a-bb2d-4628-9140-122d0f91b28a" providerId="ADAL" clId="{DE1D7259-EAA4-44F5-878A-0D80DBEF94A3}" dt="2022-08-22T18:44:58.081" v="654" actId="207"/>
          <ac:spMkLst>
            <pc:docMk/>
            <pc:sldMk cId="1851178551" sldId="300"/>
            <ac:spMk id="6" creationId="{586B2C00-5802-4710-BA94-2A4BF62B49C3}"/>
          </ac:spMkLst>
        </pc:spChg>
        <pc:spChg chg="del mod">
          <ac:chgData name="Marco Soares" userId="d0da0a5a-bb2d-4628-9140-122d0f91b28a" providerId="ADAL" clId="{DE1D7259-EAA4-44F5-878A-0D80DBEF94A3}" dt="2022-08-22T17:54:51.347" v="550"/>
          <ac:spMkLst>
            <pc:docMk/>
            <pc:sldMk cId="1851178551" sldId="300"/>
            <ac:spMk id="7" creationId="{564D9FA4-543C-B53C-ECE5-6F0B504D769D}"/>
          </ac:spMkLst>
        </pc:spChg>
        <pc:picChg chg="del">
          <ac:chgData name="Marco Soares" userId="d0da0a5a-bb2d-4628-9140-122d0f91b28a" providerId="ADAL" clId="{DE1D7259-EAA4-44F5-878A-0D80DBEF94A3}" dt="2022-08-22T17:05:15.228" v="104" actId="478"/>
          <ac:picMkLst>
            <pc:docMk/>
            <pc:sldMk cId="1851178551" sldId="300"/>
            <ac:picMk id="8" creationId="{9489730A-98FE-4C39-85E0-D2807F6F6C9A}"/>
          </ac:picMkLst>
        </pc:picChg>
      </pc:sldChg>
      <pc:sldChg chg="addSp delSp modSp mod modClrScheme chgLayout">
        <pc:chgData name="Marco Soares" userId="d0da0a5a-bb2d-4628-9140-122d0f91b28a" providerId="ADAL" clId="{DE1D7259-EAA4-44F5-878A-0D80DBEF94A3}" dt="2022-08-22T18:46:06.241" v="658" actId="207"/>
        <pc:sldMkLst>
          <pc:docMk/>
          <pc:sldMk cId="2129109806" sldId="301"/>
        </pc:sldMkLst>
        <pc:spChg chg="add mod ord">
          <ac:chgData name="Marco Soares" userId="d0da0a5a-bb2d-4628-9140-122d0f91b28a" providerId="ADAL" clId="{DE1D7259-EAA4-44F5-878A-0D80DBEF94A3}" dt="2022-08-22T17:05:22.303" v="106"/>
          <ac:spMkLst>
            <pc:docMk/>
            <pc:sldMk cId="2129109806" sldId="301"/>
            <ac:spMk id="2" creationId="{AB9957DE-48C7-4EA3-A2EA-2B63920665B6}"/>
          </ac:spMkLst>
        </pc:spChg>
        <pc:spChg chg="add mod ord">
          <ac:chgData name="Marco Soares" userId="d0da0a5a-bb2d-4628-9140-122d0f91b28a" providerId="ADAL" clId="{DE1D7259-EAA4-44F5-878A-0D80DBEF94A3}" dt="2022-08-22T18:46:00.509" v="657" actId="20577"/>
          <ac:spMkLst>
            <pc:docMk/>
            <pc:sldMk cId="2129109806" sldId="301"/>
            <ac:spMk id="3" creationId="{322FE7E8-A768-473D-A211-686989DDDF71}"/>
          </ac:spMkLst>
        </pc:spChg>
        <pc:spChg chg="add del mod ord">
          <ac:chgData name="Marco Soares" userId="d0da0a5a-bb2d-4628-9140-122d0f91b28a" providerId="ADAL" clId="{DE1D7259-EAA4-44F5-878A-0D80DBEF94A3}" dt="2022-08-22T18:34:50.599" v="555" actId="478"/>
          <ac:spMkLst>
            <pc:docMk/>
            <pc:sldMk cId="2129109806" sldId="301"/>
            <ac:spMk id="5" creationId="{A3CBD5EE-1F65-4F86-B62C-B0696514EEEE}"/>
          </ac:spMkLst>
        </pc:spChg>
        <pc:spChg chg="mod">
          <ac:chgData name="Marco Soares" userId="d0da0a5a-bb2d-4628-9140-122d0f91b28a" providerId="ADAL" clId="{DE1D7259-EAA4-44F5-878A-0D80DBEF94A3}" dt="2022-08-22T18:46:06.241" v="658" actId="207"/>
          <ac:spMkLst>
            <pc:docMk/>
            <pc:sldMk cId="2129109806" sldId="301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8:45:55.396" v="655" actId="478"/>
          <ac:spMkLst>
            <pc:docMk/>
            <pc:sldMk cId="2129109806" sldId="301"/>
            <ac:spMk id="7" creationId="{564D9FA4-543C-B53C-ECE5-6F0B504D769D}"/>
          </ac:spMkLst>
        </pc:spChg>
        <pc:spChg chg="del">
          <ac:chgData name="Marco Soares" userId="d0da0a5a-bb2d-4628-9140-122d0f91b28a" providerId="ADAL" clId="{DE1D7259-EAA4-44F5-878A-0D80DBEF94A3}" dt="2022-08-22T17:05:20.657" v="105" actId="478"/>
          <ac:spMkLst>
            <pc:docMk/>
            <pc:sldMk cId="2129109806" sldId="301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05:24.660" v="107" actId="478"/>
          <ac:picMkLst>
            <pc:docMk/>
            <pc:sldMk cId="2129109806" sldId="301"/>
            <ac:picMk id="8" creationId="{9D0DE03D-9341-4837-BE33-821D620969A6}"/>
          </ac:picMkLst>
        </pc:picChg>
      </pc:sldChg>
      <pc:sldChg chg="addSp delSp modSp mod modClrScheme chgLayout">
        <pc:chgData name="Marco Soares" userId="d0da0a5a-bb2d-4628-9140-122d0f91b28a" providerId="ADAL" clId="{DE1D7259-EAA4-44F5-878A-0D80DBEF94A3}" dt="2022-08-22T18:47:17.461" v="668" actId="1076"/>
        <pc:sldMkLst>
          <pc:docMk/>
          <pc:sldMk cId="139641146" sldId="302"/>
        </pc:sldMkLst>
        <pc:spChg chg="add mod ord">
          <ac:chgData name="Marco Soares" userId="d0da0a5a-bb2d-4628-9140-122d0f91b28a" providerId="ADAL" clId="{DE1D7259-EAA4-44F5-878A-0D80DBEF94A3}" dt="2022-08-22T17:05:31.281" v="109"/>
          <ac:spMkLst>
            <pc:docMk/>
            <pc:sldMk cId="139641146" sldId="302"/>
            <ac:spMk id="2" creationId="{107AC91E-18E7-45EA-BA81-22BD1C3E4815}"/>
          </ac:spMkLst>
        </pc:spChg>
        <pc:spChg chg="add mod ord">
          <ac:chgData name="Marco Soares" userId="d0da0a5a-bb2d-4628-9140-122d0f91b28a" providerId="ADAL" clId="{DE1D7259-EAA4-44F5-878A-0D80DBEF94A3}" dt="2022-08-22T18:46:43.562" v="661" actId="20577"/>
          <ac:spMkLst>
            <pc:docMk/>
            <pc:sldMk cId="139641146" sldId="302"/>
            <ac:spMk id="3" creationId="{A12BABED-B51E-44AD-865C-26FCA5072691}"/>
          </ac:spMkLst>
        </pc:spChg>
        <pc:spChg chg="del">
          <ac:chgData name="Marco Soares" userId="d0da0a5a-bb2d-4628-9140-122d0f91b28a" providerId="ADAL" clId="{DE1D7259-EAA4-44F5-878A-0D80DBEF94A3}" dt="2022-08-22T17:05:29.463" v="108" actId="478"/>
          <ac:spMkLst>
            <pc:docMk/>
            <pc:sldMk cId="139641146" sldId="302"/>
            <ac:spMk id="4" creationId="{00000000-0000-0000-0000-000000000000}"/>
          </ac:spMkLst>
        </pc:spChg>
        <pc:spChg chg="add del mod ord">
          <ac:chgData name="Marco Soares" userId="d0da0a5a-bb2d-4628-9140-122d0f91b28a" providerId="ADAL" clId="{DE1D7259-EAA4-44F5-878A-0D80DBEF94A3}" dt="2022-08-22T18:35:02.641" v="557" actId="478"/>
          <ac:spMkLst>
            <pc:docMk/>
            <pc:sldMk cId="139641146" sldId="302"/>
            <ac:spMk id="5" creationId="{E46916A5-52C4-43BC-A4A0-A0D3FFEE3ECF}"/>
          </ac:spMkLst>
        </pc:spChg>
        <pc:spChg chg="mod">
          <ac:chgData name="Marco Soares" userId="d0da0a5a-bb2d-4628-9140-122d0f91b28a" providerId="ADAL" clId="{DE1D7259-EAA4-44F5-878A-0D80DBEF94A3}" dt="2022-08-22T18:47:17.461" v="668" actId="1076"/>
          <ac:spMkLst>
            <pc:docMk/>
            <pc:sldMk cId="139641146" sldId="302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18:47:11.217" v="667" actId="1076"/>
          <ac:spMkLst>
            <pc:docMk/>
            <pc:sldMk cId="139641146" sldId="302"/>
            <ac:spMk id="8" creationId="{30B3FF1C-83A7-6D2B-8BEB-9291BF175498}"/>
          </ac:spMkLst>
        </pc:spChg>
        <pc:spChg chg="mod">
          <ac:chgData name="Marco Soares" userId="d0da0a5a-bb2d-4628-9140-122d0f91b28a" providerId="ADAL" clId="{DE1D7259-EAA4-44F5-878A-0D80DBEF94A3}" dt="2022-08-22T18:47:05.544" v="666" actId="207"/>
          <ac:spMkLst>
            <pc:docMk/>
            <pc:sldMk cId="139641146" sldId="302"/>
            <ac:spMk id="9" creationId="{E1281DD6-3599-7058-A7BC-7444A037C6EA}"/>
          </ac:spMkLst>
        </pc:spChg>
        <pc:spChg chg="del">
          <ac:chgData name="Marco Soares" userId="d0da0a5a-bb2d-4628-9140-122d0f91b28a" providerId="ADAL" clId="{DE1D7259-EAA4-44F5-878A-0D80DBEF94A3}" dt="2022-08-22T18:46:36.630" v="659" actId="478"/>
          <ac:spMkLst>
            <pc:docMk/>
            <pc:sldMk cId="139641146" sldId="302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05:33.382" v="110" actId="478"/>
          <ac:picMkLst>
            <pc:docMk/>
            <pc:sldMk cId="139641146" sldId="302"/>
            <ac:picMk id="10" creationId="{14BDAF9E-4D70-4405-AFAF-9FBA46BB77B3}"/>
          </ac:picMkLst>
        </pc:picChg>
      </pc:sldChg>
      <pc:sldChg chg="delSp modSp mod">
        <pc:chgData name="Marco Soares" userId="d0da0a5a-bb2d-4628-9140-122d0f91b28a" providerId="ADAL" clId="{DE1D7259-EAA4-44F5-878A-0D80DBEF94A3}" dt="2022-08-22T20:19:07.182" v="928" actId="14100"/>
        <pc:sldMkLst>
          <pc:docMk/>
          <pc:sldMk cId="1035508244" sldId="303"/>
        </pc:sldMkLst>
        <pc:spChg chg="mod">
          <ac:chgData name="Marco Soares" userId="d0da0a5a-bb2d-4628-9140-122d0f91b28a" providerId="ADAL" clId="{DE1D7259-EAA4-44F5-878A-0D80DBEF94A3}" dt="2022-08-22T20:19:07.182" v="928" actId="14100"/>
          <ac:spMkLst>
            <pc:docMk/>
            <pc:sldMk cId="1035508244" sldId="303"/>
            <ac:spMk id="2" creationId="{0F59D5C3-02C1-484F-A946-AAD075B36691}"/>
          </ac:spMkLst>
        </pc:spChg>
        <pc:spChg chg="del">
          <ac:chgData name="Marco Soares" userId="d0da0a5a-bb2d-4628-9140-122d0f91b28a" providerId="ADAL" clId="{DE1D7259-EAA4-44F5-878A-0D80DBEF94A3}" dt="2022-08-22T17:19:13.473" v="249" actId="478"/>
          <ac:spMkLst>
            <pc:docMk/>
            <pc:sldMk cId="1035508244" sldId="303"/>
            <ac:spMk id="4" creationId="{00000000-0000-0000-0000-000000000000}"/>
          </ac:spMkLst>
        </pc:spChg>
        <pc:spChg chg="del">
          <ac:chgData name="Marco Soares" userId="d0da0a5a-bb2d-4628-9140-122d0f91b28a" providerId="ADAL" clId="{DE1D7259-EAA4-44F5-878A-0D80DBEF94A3}" dt="2022-08-22T20:18:51.564" v="925" actId="478"/>
          <ac:spMkLst>
            <pc:docMk/>
            <pc:sldMk cId="1035508244" sldId="303"/>
            <ac:spMk id="5" creationId="{85F1551E-74A6-42D0-8934-B682D0E4CCA1}"/>
          </ac:spMkLst>
        </pc:spChg>
        <pc:spChg chg="mod">
          <ac:chgData name="Marco Soares" userId="d0da0a5a-bb2d-4628-9140-122d0f91b28a" providerId="ADAL" clId="{DE1D7259-EAA4-44F5-878A-0D80DBEF94A3}" dt="2022-08-22T20:19:02.512" v="927" actId="207"/>
          <ac:spMkLst>
            <pc:docMk/>
            <pc:sldMk cId="1035508244" sldId="303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8:36:01.190" v="561" actId="478"/>
          <ac:spMkLst>
            <pc:docMk/>
            <pc:sldMk cId="1035508244" sldId="303"/>
            <ac:spMk id="7" creationId="{8FA43D56-DB30-4B32-9043-DE61E7A63095}"/>
          </ac:spMkLst>
        </pc:spChg>
        <pc:spChg chg="del">
          <ac:chgData name="Marco Soares" userId="d0da0a5a-bb2d-4628-9140-122d0f91b28a" providerId="ADAL" clId="{DE1D7259-EAA4-44F5-878A-0D80DBEF94A3}" dt="2022-08-22T17:19:16.384" v="250" actId="478"/>
          <ac:spMkLst>
            <pc:docMk/>
            <pc:sldMk cId="1035508244" sldId="303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9:09.053" v="247" actId="478"/>
          <ac:picMkLst>
            <pc:docMk/>
            <pc:sldMk cId="1035508244" sldId="303"/>
            <ac:picMk id="9" creationId="{766F0D31-BB0B-4A53-B576-CF1808FC5272}"/>
          </ac:picMkLst>
        </pc:picChg>
      </pc:sldChg>
      <pc:sldChg chg="delSp modSp mod">
        <pc:chgData name="Marco Soares" userId="d0da0a5a-bb2d-4628-9140-122d0f91b28a" providerId="ADAL" clId="{DE1D7259-EAA4-44F5-878A-0D80DBEF94A3}" dt="2022-08-22T18:49:10.963" v="691" actId="1036"/>
        <pc:sldMkLst>
          <pc:docMk/>
          <pc:sldMk cId="1109895084" sldId="304"/>
        </pc:sldMkLst>
        <pc:spChg chg="mod">
          <ac:chgData name="Marco Soares" userId="d0da0a5a-bb2d-4628-9140-122d0f91b28a" providerId="ADAL" clId="{DE1D7259-EAA4-44F5-878A-0D80DBEF94A3}" dt="2022-08-22T17:14:59.852" v="178"/>
          <ac:spMkLst>
            <pc:docMk/>
            <pc:sldMk cId="1109895084" sldId="304"/>
            <ac:spMk id="2" creationId="{C799F4D6-875E-4E76-B456-DABC4AF3968D}"/>
          </ac:spMkLst>
        </pc:spChg>
        <pc:spChg chg="mod">
          <ac:chgData name="Marco Soares" userId="d0da0a5a-bb2d-4628-9140-122d0f91b28a" providerId="ADAL" clId="{DE1D7259-EAA4-44F5-878A-0D80DBEF94A3}" dt="2022-08-22T18:49:06.352" v="689" actId="14100"/>
          <ac:spMkLst>
            <pc:docMk/>
            <pc:sldMk cId="1109895084" sldId="304"/>
            <ac:spMk id="5" creationId="{2C5B950B-E281-4087-A518-5B3941F82B65}"/>
          </ac:spMkLst>
        </pc:spChg>
        <pc:spChg chg="del">
          <ac:chgData name="Marco Soares" userId="d0da0a5a-bb2d-4628-9140-122d0f91b28a" providerId="ADAL" clId="{DE1D7259-EAA4-44F5-878A-0D80DBEF94A3}" dt="2022-08-22T18:48:25.131" v="672" actId="478"/>
          <ac:spMkLst>
            <pc:docMk/>
            <pc:sldMk cId="1109895084" sldId="304"/>
            <ac:spMk id="6" creationId="{94716325-4E81-4A9A-A8AF-4DE76C37CE7F}"/>
          </ac:spMkLst>
        </pc:spChg>
        <pc:spChg chg="del mod">
          <ac:chgData name="Marco Soares" userId="d0da0a5a-bb2d-4628-9140-122d0f91b28a" providerId="ADAL" clId="{DE1D7259-EAA4-44F5-878A-0D80DBEF94A3}" dt="2022-08-22T18:48:25.132" v="674"/>
          <ac:spMkLst>
            <pc:docMk/>
            <pc:sldMk cId="1109895084" sldId="304"/>
            <ac:spMk id="7" creationId="{0E021EA2-0671-6433-49D5-B0BC94A27627}"/>
          </ac:spMkLst>
        </pc:spChg>
        <pc:spChg chg="del mod">
          <ac:chgData name="Marco Soares" userId="d0da0a5a-bb2d-4628-9140-122d0f91b28a" providerId="ADAL" clId="{DE1D7259-EAA4-44F5-878A-0D80DBEF94A3}" dt="2022-08-22T17:15:01.117" v="180"/>
          <ac:spMkLst>
            <pc:docMk/>
            <pc:sldMk cId="1109895084" sldId="304"/>
            <ac:spMk id="12" creationId="{72CB4501-AE8E-46C9-9430-6CB2F1F5B04E}"/>
          </ac:spMkLst>
        </pc:spChg>
        <pc:picChg chg="mod">
          <ac:chgData name="Marco Soares" userId="d0da0a5a-bb2d-4628-9140-122d0f91b28a" providerId="ADAL" clId="{DE1D7259-EAA4-44F5-878A-0D80DBEF94A3}" dt="2022-08-22T18:49:10.963" v="691" actId="1036"/>
          <ac:picMkLst>
            <pc:docMk/>
            <pc:sldMk cId="1109895084" sldId="304"/>
            <ac:picMk id="3" creationId="{453DFA6B-25BF-E9EB-0738-BC4FE6CEEE9B}"/>
          </ac:picMkLst>
        </pc:picChg>
        <pc:picChg chg="mod">
          <ac:chgData name="Marco Soares" userId="d0da0a5a-bb2d-4628-9140-122d0f91b28a" providerId="ADAL" clId="{DE1D7259-EAA4-44F5-878A-0D80DBEF94A3}" dt="2022-08-22T18:49:10.963" v="691" actId="1036"/>
          <ac:picMkLst>
            <pc:docMk/>
            <pc:sldMk cId="1109895084" sldId="304"/>
            <ac:picMk id="8" creationId="{FE08968A-0C64-1162-47E5-BB7EC64C0263}"/>
          </ac:picMkLst>
        </pc:picChg>
        <pc:picChg chg="del">
          <ac:chgData name="Marco Soares" userId="d0da0a5a-bb2d-4628-9140-122d0f91b28a" providerId="ADAL" clId="{DE1D7259-EAA4-44F5-878A-0D80DBEF94A3}" dt="2022-08-22T17:16:53.169" v="205" actId="478"/>
          <ac:picMkLst>
            <pc:docMk/>
            <pc:sldMk cId="1109895084" sldId="304"/>
            <ac:picMk id="10" creationId="{FFD36A93-2612-4884-B3EC-726979B44D61}"/>
          </ac:picMkLst>
        </pc:picChg>
        <pc:picChg chg="mod">
          <ac:chgData name="Marco Soares" userId="d0da0a5a-bb2d-4628-9140-122d0f91b28a" providerId="ADAL" clId="{DE1D7259-EAA4-44F5-878A-0D80DBEF94A3}" dt="2022-08-22T18:49:10.963" v="691" actId="1036"/>
          <ac:picMkLst>
            <pc:docMk/>
            <pc:sldMk cId="1109895084" sldId="304"/>
            <ac:picMk id="2050" creationId="{575EB4C7-B5FC-DA59-3494-49AF3799EA41}"/>
          </ac:picMkLst>
        </pc:picChg>
        <pc:picChg chg="mod">
          <ac:chgData name="Marco Soares" userId="d0da0a5a-bb2d-4628-9140-122d0f91b28a" providerId="ADAL" clId="{DE1D7259-EAA4-44F5-878A-0D80DBEF94A3}" dt="2022-08-22T18:49:10.963" v="691" actId="1036"/>
          <ac:picMkLst>
            <pc:docMk/>
            <pc:sldMk cId="1109895084" sldId="304"/>
            <ac:picMk id="2052" creationId="{1F44B194-BAE9-9897-AA73-5EAF6FBEF4C0}"/>
          </ac:picMkLst>
        </pc:picChg>
      </pc:sldChg>
      <pc:sldChg chg="delSp modSp mod">
        <pc:chgData name="Marco Soares" userId="d0da0a5a-bb2d-4628-9140-122d0f91b28a" providerId="ADAL" clId="{DE1D7259-EAA4-44F5-878A-0D80DBEF94A3}" dt="2022-08-22T19:35:40.144" v="823" actId="20577"/>
        <pc:sldMkLst>
          <pc:docMk/>
          <pc:sldMk cId="250671212" sldId="305"/>
        </pc:sldMkLst>
        <pc:spChg chg="mod">
          <ac:chgData name="Marco Soares" userId="d0da0a5a-bb2d-4628-9140-122d0f91b28a" providerId="ADAL" clId="{DE1D7259-EAA4-44F5-878A-0D80DBEF94A3}" dt="2022-08-22T17:19:39.559" v="258" actId="20577"/>
          <ac:spMkLst>
            <pc:docMk/>
            <pc:sldMk cId="250671212" sldId="305"/>
            <ac:spMk id="2" creationId="{0101CBB7-44FA-4581-916E-6B24B21192B3}"/>
          </ac:spMkLst>
        </pc:spChg>
        <pc:spChg chg="del">
          <ac:chgData name="Marco Soares" userId="d0da0a5a-bb2d-4628-9140-122d0f91b28a" providerId="ADAL" clId="{DE1D7259-EAA4-44F5-878A-0D80DBEF94A3}" dt="2022-08-22T17:19:43.370" v="259" actId="478"/>
          <ac:spMkLst>
            <pc:docMk/>
            <pc:sldMk cId="250671212" sldId="305"/>
            <ac:spMk id="4" creationId="{00000000-0000-0000-0000-000000000000}"/>
          </ac:spMkLst>
        </pc:spChg>
        <pc:spChg chg="mod">
          <ac:chgData name="Marco Soares" userId="d0da0a5a-bb2d-4628-9140-122d0f91b28a" providerId="ADAL" clId="{DE1D7259-EAA4-44F5-878A-0D80DBEF94A3}" dt="2022-08-22T19:35:40.144" v="823" actId="20577"/>
          <ac:spMkLst>
            <pc:docMk/>
            <pc:sldMk cId="250671212" sldId="305"/>
            <ac:spMk id="5" creationId="{ECB0ABDA-91A5-45DC-BCC5-B2FA6496F159}"/>
          </ac:spMkLst>
        </pc:spChg>
        <pc:spChg chg="mod">
          <ac:chgData name="Marco Soares" userId="d0da0a5a-bb2d-4628-9140-122d0f91b28a" providerId="ADAL" clId="{DE1D7259-EAA4-44F5-878A-0D80DBEF94A3}" dt="2022-08-22T19:35:03.005" v="820" actId="1076"/>
          <ac:spMkLst>
            <pc:docMk/>
            <pc:sldMk cId="250671212" sldId="305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8:36:22.337" v="564" actId="478"/>
          <ac:spMkLst>
            <pc:docMk/>
            <pc:sldMk cId="250671212" sldId="305"/>
            <ac:spMk id="7" creationId="{0A3DCBEA-01F8-4DC0-ACA1-102F9AC9CC97}"/>
          </ac:spMkLst>
        </pc:spChg>
        <pc:spChg chg="del mod">
          <ac:chgData name="Marco Soares" userId="d0da0a5a-bb2d-4628-9140-122d0f91b28a" providerId="ADAL" clId="{DE1D7259-EAA4-44F5-878A-0D80DBEF94A3}" dt="2022-08-22T17:19:36.362" v="256" actId="478"/>
          <ac:spMkLst>
            <pc:docMk/>
            <pc:sldMk cId="250671212" sldId="305"/>
            <ac:spMk id="12" creationId="{72CB4501-AE8E-46C9-9430-6CB2F1F5B04E}"/>
          </ac:spMkLst>
        </pc:spChg>
      </pc:sldChg>
      <pc:sldChg chg="delSp modSp mod">
        <pc:chgData name="Marco Soares" userId="d0da0a5a-bb2d-4628-9140-122d0f91b28a" providerId="ADAL" clId="{DE1D7259-EAA4-44F5-878A-0D80DBEF94A3}" dt="2022-08-22T19:58:00.497" v="831" actId="20577"/>
        <pc:sldMkLst>
          <pc:docMk/>
          <pc:sldMk cId="1728753006" sldId="306"/>
        </pc:sldMkLst>
        <pc:spChg chg="mod">
          <ac:chgData name="Marco Soares" userId="d0da0a5a-bb2d-4628-9140-122d0f91b28a" providerId="ADAL" clId="{DE1D7259-EAA4-44F5-878A-0D80DBEF94A3}" dt="2022-08-22T17:19:57.076" v="262"/>
          <ac:spMkLst>
            <pc:docMk/>
            <pc:sldMk cId="1728753006" sldId="306"/>
            <ac:spMk id="2" creationId="{4C8D00F9-74EE-48E8-A9D4-4A188C873487}"/>
          </ac:spMkLst>
        </pc:spChg>
        <pc:spChg chg="del">
          <ac:chgData name="Marco Soares" userId="d0da0a5a-bb2d-4628-9140-122d0f91b28a" providerId="ADAL" clId="{DE1D7259-EAA4-44F5-878A-0D80DBEF94A3}" dt="2022-08-22T17:19:55.760" v="261" actId="478"/>
          <ac:spMkLst>
            <pc:docMk/>
            <pc:sldMk cId="1728753006" sldId="306"/>
            <ac:spMk id="4" creationId="{00000000-0000-0000-0000-000000000000}"/>
          </ac:spMkLst>
        </pc:spChg>
        <pc:spChg chg="mod">
          <ac:chgData name="Marco Soares" userId="d0da0a5a-bb2d-4628-9140-122d0f91b28a" providerId="ADAL" clId="{DE1D7259-EAA4-44F5-878A-0D80DBEF94A3}" dt="2022-08-22T19:58:00.497" v="831" actId="20577"/>
          <ac:spMkLst>
            <pc:docMk/>
            <pc:sldMk cId="1728753006" sldId="306"/>
            <ac:spMk id="5" creationId="{D724C85B-6F0C-4862-96FC-901478F72FC0}"/>
          </ac:spMkLst>
        </pc:spChg>
        <pc:spChg chg="mod">
          <ac:chgData name="Marco Soares" userId="d0da0a5a-bb2d-4628-9140-122d0f91b28a" providerId="ADAL" clId="{DE1D7259-EAA4-44F5-878A-0D80DBEF94A3}" dt="2022-08-22T19:57:49.463" v="829" actId="1076"/>
          <ac:spMkLst>
            <pc:docMk/>
            <pc:sldMk cId="1728753006" sldId="306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8:36:38.989" v="568" actId="478"/>
          <ac:spMkLst>
            <pc:docMk/>
            <pc:sldMk cId="1728753006" sldId="306"/>
            <ac:spMk id="7" creationId="{AAC1B463-3917-4C0E-9F3F-49AAFED0472F}"/>
          </ac:spMkLst>
        </pc:spChg>
        <pc:spChg chg="del">
          <ac:chgData name="Marco Soares" userId="d0da0a5a-bb2d-4628-9140-122d0f91b28a" providerId="ADAL" clId="{DE1D7259-EAA4-44F5-878A-0D80DBEF94A3}" dt="2022-08-22T17:19:49.841" v="260" actId="478"/>
          <ac:spMkLst>
            <pc:docMk/>
            <pc:sldMk cId="1728753006" sldId="306"/>
            <ac:spMk id="12" creationId="{72CB4501-AE8E-46C9-9430-6CB2F1F5B04E}"/>
          </ac:spMkLst>
        </pc:spChg>
      </pc:sldChg>
      <pc:sldChg chg="delSp modSp mod">
        <pc:chgData name="Marco Soares" userId="d0da0a5a-bb2d-4628-9140-122d0f91b28a" providerId="ADAL" clId="{DE1D7259-EAA4-44F5-878A-0D80DBEF94A3}" dt="2022-08-22T19:58:40.312" v="837" actId="1076"/>
        <pc:sldMkLst>
          <pc:docMk/>
          <pc:sldMk cId="3074453057" sldId="307"/>
        </pc:sldMkLst>
        <pc:spChg chg="mod">
          <ac:chgData name="Marco Soares" userId="d0da0a5a-bb2d-4628-9140-122d0f91b28a" providerId="ADAL" clId="{DE1D7259-EAA4-44F5-878A-0D80DBEF94A3}" dt="2022-08-22T17:20:08.216" v="266"/>
          <ac:spMkLst>
            <pc:docMk/>
            <pc:sldMk cId="3074453057" sldId="307"/>
            <ac:spMk id="2" creationId="{E4E5C407-277A-40AE-89EA-2C61BB9266F5}"/>
          </ac:spMkLst>
        </pc:spChg>
        <pc:spChg chg="mod">
          <ac:chgData name="Marco Soares" userId="d0da0a5a-bb2d-4628-9140-122d0f91b28a" providerId="ADAL" clId="{DE1D7259-EAA4-44F5-878A-0D80DBEF94A3}" dt="2022-08-22T19:58:14.989" v="833" actId="20577"/>
          <ac:spMkLst>
            <pc:docMk/>
            <pc:sldMk cId="3074453057" sldId="307"/>
            <ac:spMk id="3" creationId="{13B248FC-2EA6-4D47-9136-19C2AED32648}"/>
          </ac:spMkLst>
        </pc:spChg>
        <pc:spChg chg="del">
          <ac:chgData name="Marco Soares" userId="d0da0a5a-bb2d-4628-9140-122d0f91b28a" providerId="ADAL" clId="{DE1D7259-EAA4-44F5-878A-0D80DBEF94A3}" dt="2022-08-22T17:20:06.542" v="265" actId="478"/>
          <ac:spMkLst>
            <pc:docMk/>
            <pc:sldMk cId="3074453057" sldId="307"/>
            <ac:spMk id="4" creationId="{00000000-0000-0000-0000-000000000000}"/>
          </ac:spMkLst>
        </pc:spChg>
        <pc:spChg chg="del">
          <ac:chgData name="Marco Soares" userId="d0da0a5a-bb2d-4628-9140-122d0f91b28a" providerId="ADAL" clId="{DE1D7259-EAA4-44F5-878A-0D80DBEF94A3}" dt="2022-08-22T18:36:56.873" v="571" actId="478"/>
          <ac:spMkLst>
            <pc:docMk/>
            <pc:sldMk cId="3074453057" sldId="307"/>
            <ac:spMk id="5" creationId="{2F3F5B2E-1D77-4EA1-95CC-70A4537793F1}"/>
          </ac:spMkLst>
        </pc:spChg>
        <pc:spChg chg="mod">
          <ac:chgData name="Marco Soares" userId="d0da0a5a-bb2d-4628-9140-122d0f91b28a" providerId="ADAL" clId="{DE1D7259-EAA4-44F5-878A-0D80DBEF94A3}" dt="2022-08-22T19:58:40.312" v="837" actId="1076"/>
          <ac:spMkLst>
            <pc:docMk/>
            <pc:sldMk cId="3074453057" sldId="307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7:20:04.665" v="264" actId="478"/>
          <ac:spMkLst>
            <pc:docMk/>
            <pc:sldMk cId="3074453057" sldId="307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20:01.267" v="263" actId="478"/>
          <ac:picMkLst>
            <pc:docMk/>
            <pc:sldMk cId="3074453057" sldId="307"/>
            <ac:picMk id="11" creationId="{4DCA3DD2-EEB7-4495-861D-C6FF44C0BBEF}"/>
          </ac:picMkLst>
        </pc:picChg>
      </pc:sldChg>
      <pc:sldChg chg="delSp modSp mod">
        <pc:chgData name="Marco Soares" userId="d0da0a5a-bb2d-4628-9140-122d0f91b28a" providerId="ADAL" clId="{DE1D7259-EAA4-44F5-878A-0D80DBEF94A3}" dt="2022-08-22T19:59:51.111" v="850" actId="1076"/>
        <pc:sldMkLst>
          <pc:docMk/>
          <pc:sldMk cId="1918096098" sldId="308"/>
        </pc:sldMkLst>
        <pc:spChg chg="mod">
          <ac:chgData name="Marco Soares" userId="d0da0a5a-bb2d-4628-9140-122d0f91b28a" providerId="ADAL" clId="{DE1D7259-EAA4-44F5-878A-0D80DBEF94A3}" dt="2022-08-22T19:59:46.695" v="849" actId="14100"/>
          <ac:spMkLst>
            <pc:docMk/>
            <pc:sldMk cId="1918096098" sldId="308"/>
            <ac:spMk id="2" creationId="{02EB7152-F039-4605-B1E5-564B25764ED8}"/>
          </ac:spMkLst>
        </pc:spChg>
        <pc:spChg chg="del">
          <ac:chgData name="Marco Soares" userId="d0da0a5a-bb2d-4628-9140-122d0f91b28a" providerId="ADAL" clId="{DE1D7259-EAA4-44F5-878A-0D80DBEF94A3}" dt="2022-08-22T17:20:18.898" v="270" actId="478"/>
          <ac:spMkLst>
            <pc:docMk/>
            <pc:sldMk cId="1918096098" sldId="308"/>
            <ac:spMk id="4" creationId="{00000000-0000-0000-0000-000000000000}"/>
          </ac:spMkLst>
        </pc:spChg>
        <pc:spChg chg="mod">
          <ac:chgData name="Marco Soares" userId="d0da0a5a-bb2d-4628-9140-122d0f91b28a" providerId="ADAL" clId="{DE1D7259-EAA4-44F5-878A-0D80DBEF94A3}" dt="2022-08-22T19:59:51.111" v="850" actId="1076"/>
          <ac:spMkLst>
            <pc:docMk/>
            <pc:sldMk cId="1918096098" sldId="308"/>
            <ac:spMk id="5" creationId="{9C5D14A7-8CF3-490D-81BC-5699A35680CD}"/>
          </ac:spMkLst>
        </pc:spChg>
        <pc:spChg chg="mod">
          <ac:chgData name="Marco Soares" userId="d0da0a5a-bb2d-4628-9140-122d0f91b28a" providerId="ADAL" clId="{DE1D7259-EAA4-44F5-878A-0D80DBEF94A3}" dt="2022-08-22T19:59:39.681" v="848" actId="14100"/>
          <ac:spMkLst>
            <pc:docMk/>
            <pc:sldMk cId="1918096098" sldId="308"/>
            <ac:spMk id="6" creationId="{586B2C00-5802-4710-BA94-2A4BF62B49C3}"/>
          </ac:spMkLst>
        </pc:spChg>
        <pc:spChg chg="del">
          <ac:chgData name="Marco Soares" userId="d0da0a5a-bb2d-4628-9140-122d0f91b28a" providerId="ADAL" clId="{DE1D7259-EAA4-44F5-878A-0D80DBEF94A3}" dt="2022-08-22T18:37:08.210" v="573" actId="478"/>
          <ac:spMkLst>
            <pc:docMk/>
            <pc:sldMk cId="1918096098" sldId="308"/>
            <ac:spMk id="9" creationId="{C990ABD8-398D-4BFF-82E7-ED34AB862B00}"/>
          </ac:spMkLst>
        </pc:spChg>
        <pc:spChg chg="del">
          <ac:chgData name="Marco Soares" userId="d0da0a5a-bb2d-4628-9140-122d0f91b28a" providerId="ADAL" clId="{DE1D7259-EAA4-44F5-878A-0D80DBEF94A3}" dt="2022-08-22T17:20:17.376" v="269" actId="478"/>
          <ac:spMkLst>
            <pc:docMk/>
            <pc:sldMk cId="1918096098" sldId="308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20:12.906" v="267" actId="478"/>
          <ac:picMkLst>
            <pc:docMk/>
            <pc:sldMk cId="1918096098" sldId="308"/>
            <ac:picMk id="11" creationId="{B71FB26B-9E4B-45BF-8397-7E22BBBECE32}"/>
          </ac:picMkLst>
        </pc:picChg>
      </pc:sldChg>
      <pc:sldChg chg="addSp delSp modSp mod">
        <pc:chgData name="Marco Soares" userId="d0da0a5a-bb2d-4628-9140-122d0f91b28a" providerId="ADAL" clId="{DE1D7259-EAA4-44F5-878A-0D80DBEF94A3}" dt="2022-08-22T20:00:26.703" v="853" actId="1076"/>
        <pc:sldMkLst>
          <pc:docMk/>
          <pc:sldMk cId="3506819097" sldId="309"/>
        </pc:sldMkLst>
        <pc:spChg chg="mod">
          <ac:chgData name="Marco Soares" userId="d0da0a5a-bb2d-4628-9140-122d0f91b28a" providerId="ADAL" clId="{DE1D7259-EAA4-44F5-878A-0D80DBEF94A3}" dt="2022-08-22T17:20:24.639" v="272"/>
          <ac:spMkLst>
            <pc:docMk/>
            <pc:sldMk cId="3506819097" sldId="309"/>
            <ac:spMk id="3" creationId="{41A7616E-3BE4-4E49-80B6-6BFA27E02B29}"/>
          </ac:spMkLst>
        </pc:spChg>
        <pc:spChg chg="mod">
          <ac:chgData name="Marco Soares" userId="d0da0a5a-bb2d-4628-9140-122d0f91b28a" providerId="ADAL" clId="{DE1D7259-EAA4-44F5-878A-0D80DBEF94A3}" dt="2022-08-22T20:00:22.298" v="852" actId="20577"/>
          <ac:spMkLst>
            <pc:docMk/>
            <pc:sldMk cId="3506819097" sldId="309"/>
            <ac:spMk id="5" creationId="{02C8DC7B-853A-4ED0-88BB-13A05560DE6F}"/>
          </ac:spMkLst>
        </pc:spChg>
        <pc:spChg chg="del">
          <ac:chgData name="Marco Soares" userId="d0da0a5a-bb2d-4628-9140-122d0f91b28a" providerId="ADAL" clId="{DE1D7259-EAA4-44F5-878A-0D80DBEF94A3}" dt="2022-08-22T18:37:41.795" v="577" actId="478"/>
          <ac:spMkLst>
            <pc:docMk/>
            <pc:sldMk cId="3506819097" sldId="309"/>
            <ac:spMk id="7" creationId="{E7844D59-DBA8-47C9-ABA0-FE2083AC71F2}"/>
          </ac:spMkLst>
        </pc:spChg>
        <pc:spChg chg="add del">
          <ac:chgData name="Marco Soares" userId="d0da0a5a-bb2d-4628-9140-122d0f91b28a" providerId="ADAL" clId="{DE1D7259-EAA4-44F5-878A-0D80DBEF94A3}" dt="2022-08-22T17:20:29.633" v="274" actId="478"/>
          <ac:spMkLst>
            <pc:docMk/>
            <pc:sldMk cId="3506819097" sldId="309"/>
            <ac:spMk id="10" creationId="{BDB9DE4B-56D6-980E-7C85-2E134F20C6E1}"/>
          </ac:spMkLst>
        </pc:spChg>
        <pc:spChg chg="del">
          <ac:chgData name="Marco Soares" userId="d0da0a5a-bb2d-4628-9140-122d0f91b28a" providerId="ADAL" clId="{DE1D7259-EAA4-44F5-878A-0D80DBEF94A3}" dt="2022-08-22T17:20:31.967" v="275" actId="478"/>
          <ac:spMkLst>
            <pc:docMk/>
            <pc:sldMk cId="3506819097" sldId="309"/>
            <ac:spMk id="12" creationId="{72CB4501-AE8E-46C9-9430-6CB2F1F5B04E}"/>
          </ac:spMkLst>
        </pc:spChg>
        <pc:graphicFrameChg chg="mod modGraphic">
          <ac:chgData name="Marco Soares" userId="d0da0a5a-bb2d-4628-9140-122d0f91b28a" providerId="ADAL" clId="{DE1D7259-EAA4-44F5-878A-0D80DBEF94A3}" dt="2022-08-22T20:00:26.703" v="853" actId="1076"/>
          <ac:graphicFrameMkLst>
            <pc:docMk/>
            <pc:sldMk cId="3506819097" sldId="309"/>
            <ac:graphicFrameMk id="2" creationId="{6D54E1A2-D9F7-1CF9-056D-27E38D57171C}"/>
          </ac:graphicFrameMkLst>
        </pc:graphicFrameChg>
        <pc:picChg chg="del">
          <ac:chgData name="Marco Soares" userId="d0da0a5a-bb2d-4628-9140-122d0f91b28a" providerId="ADAL" clId="{DE1D7259-EAA4-44F5-878A-0D80DBEF94A3}" dt="2022-08-22T17:20:22.515" v="271" actId="478"/>
          <ac:picMkLst>
            <pc:docMk/>
            <pc:sldMk cId="3506819097" sldId="309"/>
            <ac:picMk id="6" creationId="{A4455C45-67D1-4625-893B-6C9375CD9C51}"/>
          </ac:picMkLst>
        </pc:picChg>
      </pc:sldChg>
      <pc:sldChg chg="delSp modSp mod">
        <pc:chgData name="Marco Soares" userId="d0da0a5a-bb2d-4628-9140-122d0f91b28a" providerId="ADAL" clId="{DE1D7259-EAA4-44F5-878A-0D80DBEF94A3}" dt="2022-08-22T20:01:12.819" v="862" actId="1036"/>
        <pc:sldMkLst>
          <pc:docMk/>
          <pc:sldMk cId="2238641553" sldId="310"/>
        </pc:sldMkLst>
        <pc:spChg chg="mod">
          <ac:chgData name="Marco Soares" userId="d0da0a5a-bb2d-4628-9140-122d0f91b28a" providerId="ADAL" clId="{DE1D7259-EAA4-44F5-878A-0D80DBEF94A3}" dt="2022-08-22T20:01:05.591" v="860" actId="14100"/>
          <ac:spMkLst>
            <pc:docMk/>
            <pc:sldMk cId="2238641553" sldId="310"/>
            <ac:spMk id="2" creationId="{4794FFE0-9372-45A8-8FED-D60939E4A8FC}"/>
          </ac:spMkLst>
        </pc:spChg>
        <pc:spChg chg="mod">
          <ac:chgData name="Marco Soares" userId="d0da0a5a-bb2d-4628-9140-122d0f91b28a" providerId="ADAL" clId="{DE1D7259-EAA4-44F5-878A-0D80DBEF94A3}" dt="2022-08-22T20:01:08.551" v="861" actId="1076"/>
          <ac:spMkLst>
            <pc:docMk/>
            <pc:sldMk cId="2238641553" sldId="310"/>
            <ac:spMk id="3" creationId="{868161E4-8179-4C18-AA3D-4C2CEF525A1F}"/>
          </ac:spMkLst>
        </pc:spChg>
        <pc:spChg chg="del">
          <ac:chgData name="Marco Soares" userId="d0da0a5a-bb2d-4628-9140-122d0f91b28a" providerId="ADAL" clId="{DE1D7259-EAA4-44F5-878A-0D80DBEF94A3}" dt="2022-08-22T17:20:47.699" v="279" actId="478"/>
          <ac:spMkLst>
            <pc:docMk/>
            <pc:sldMk cId="2238641553" sldId="310"/>
            <ac:spMk id="4" creationId="{00000000-0000-0000-0000-000000000000}"/>
          </ac:spMkLst>
        </pc:spChg>
        <pc:spChg chg="del">
          <ac:chgData name="Marco Soares" userId="d0da0a5a-bb2d-4628-9140-122d0f91b28a" providerId="ADAL" clId="{DE1D7259-EAA4-44F5-878A-0D80DBEF94A3}" dt="2022-08-22T18:38:09.363" v="581" actId="478"/>
          <ac:spMkLst>
            <pc:docMk/>
            <pc:sldMk cId="2238641553" sldId="310"/>
            <ac:spMk id="5" creationId="{F3611197-22C9-4AD7-9B14-A206B79F63EF}"/>
          </ac:spMkLst>
        </pc:spChg>
        <pc:spChg chg="del mod">
          <ac:chgData name="Marco Soares" userId="d0da0a5a-bb2d-4628-9140-122d0f91b28a" providerId="ADAL" clId="{DE1D7259-EAA4-44F5-878A-0D80DBEF94A3}" dt="2022-08-22T20:00:58.477" v="859" actId="478"/>
          <ac:spMkLst>
            <pc:docMk/>
            <pc:sldMk cId="2238641553" sldId="310"/>
            <ac:spMk id="10" creationId="{BDB9DE4B-56D6-980E-7C85-2E134F20C6E1}"/>
          </ac:spMkLst>
        </pc:spChg>
        <pc:spChg chg="del">
          <ac:chgData name="Marco Soares" userId="d0da0a5a-bb2d-4628-9140-122d0f91b28a" providerId="ADAL" clId="{DE1D7259-EAA4-44F5-878A-0D80DBEF94A3}" dt="2022-08-22T17:20:45.615" v="278" actId="478"/>
          <ac:spMkLst>
            <pc:docMk/>
            <pc:sldMk cId="2238641553" sldId="310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20:38.977" v="276" actId="478"/>
          <ac:picMkLst>
            <pc:docMk/>
            <pc:sldMk cId="2238641553" sldId="310"/>
            <ac:picMk id="9" creationId="{D9B3D0B3-F148-4C2A-B560-38456F41E1FF}"/>
          </ac:picMkLst>
        </pc:picChg>
        <pc:picChg chg="mod">
          <ac:chgData name="Marco Soares" userId="d0da0a5a-bb2d-4628-9140-122d0f91b28a" providerId="ADAL" clId="{DE1D7259-EAA4-44F5-878A-0D80DBEF94A3}" dt="2022-08-22T20:01:12.819" v="862" actId="1036"/>
          <ac:picMkLst>
            <pc:docMk/>
            <pc:sldMk cId="2238641553" sldId="310"/>
            <ac:picMk id="5122" creationId="{E23C32DC-7023-813F-1F7C-82E5DE21AD4C}"/>
          </ac:picMkLst>
        </pc:picChg>
        <pc:picChg chg="mod">
          <ac:chgData name="Marco Soares" userId="d0da0a5a-bb2d-4628-9140-122d0f91b28a" providerId="ADAL" clId="{DE1D7259-EAA4-44F5-878A-0D80DBEF94A3}" dt="2022-08-22T20:01:12.819" v="862" actId="1036"/>
          <ac:picMkLst>
            <pc:docMk/>
            <pc:sldMk cId="2238641553" sldId="310"/>
            <ac:picMk id="5124" creationId="{9A012416-D2FF-2FCB-BE19-B03B26D32092}"/>
          </ac:picMkLst>
        </pc:picChg>
        <pc:picChg chg="mod">
          <ac:chgData name="Marco Soares" userId="d0da0a5a-bb2d-4628-9140-122d0f91b28a" providerId="ADAL" clId="{DE1D7259-EAA4-44F5-878A-0D80DBEF94A3}" dt="2022-08-22T20:01:12.819" v="862" actId="1036"/>
          <ac:picMkLst>
            <pc:docMk/>
            <pc:sldMk cId="2238641553" sldId="310"/>
            <ac:picMk id="5126" creationId="{839EE91C-C45B-2A09-0487-9826D8FAC826}"/>
          </ac:picMkLst>
        </pc:picChg>
        <pc:picChg chg="mod">
          <ac:chgData name="Marco Soares" userId="d0da0a5a-bb2d-4628-9140-122d0f91b28a" providerId="ADAL" clId="{DE1D7259-EAA4-44F5-878A-0D80DBEF94A3}" dt="2022-08-22T20:01:12.819" v="862" actId="1036"/>
          <ac:picMkLst>
            <pc:docMk/>
            <pc:sldMk cId="2238641553" sldId="310"/>
            <ac:picMk id="5128" creationId="{B9740D80-DDF0-D6B6-6FE7-648AE75F64E1}"/>
          </ac:picMkLst>
        </pc:picChg>
      </pc:sldChg>
      <pc:sldChg chg="delSp modSp mod">
        <pc:chgData name="Marco Soares" userId="d0da0a5a-bb2d-4628-9140-122d0f91b28a" providerId="ADAL" clId="{DE1D7259-EAA4-44F5-878A-0D80DBEF94A3}" dt="2022-08-22T20:18:30.810" v="924" actId="20577"/>
        <pc:sldMkLst>
          <pc:docMk/>
          <pc:sldMk cId="345468716" sldId="311"/>
        </pc:sldMkLst>
        <pc:spChg chg="mod">
          <ac:chgData name="Marco Soares" userId="d0da0a5a-bb2d-4628-9140-122d0f91b28a" providerId="ADAL" clId="{DE1D7259-EAA4-44F5-878A-0D80DBEF94A3}" dt="2022-08-22T20:18:30.810" v="924" actId="20577"/>
          <ac:spMkLst>
            <pc:docMk/>
            <pc:sldMk cId="345468716" sldId="311"/>
            <ac:spMk id="3" creationId="{B8C2EBBF-9F5A-4501-9D61-79689EDA2650}"/>
          </ac:spMkLst>
        </pc:spChg>
        <pc:spChg chg="del">
          <ac:chgData name="Marco Soares" userId="d0da0a5a-bb2d-4628-9140-122d0f91b28a" providerId="ADAL" clId="{DE1D7259-EAA4-44F5-878A-0D80DBEF94A3}" dt="2022-08-22T17:19:25.760" v="254" actId="478"/>
          <ac:spMkLst>
            <pc:docMk/>
            <pc:sldMk cId="345468716" sldId="311"/>
            <ac:spMk id="4" creationId="{00000000-0000-0000-0000-000000000000}"/>
          </ac:spMkLst>
        </pc:spChg>
        <pc:spChg chg="del mod">
          <ac:chgData name="Marco Soares" userId="d0da0a5a-bb2d-4628-9140-122d0f91b28a" providerId="ADAL" clId="{DE1D7259-EAA4-44F5-878A-0D80DBEF94A3}" dt="2022-08-22T20:17:24.849" v="906"/>
          <ac:spMkLst>
            <pc:docMk/>
            <pc:sldMk cId="345468716" sldId="311"/>
            <ac:spMk id="6" creationId="{586B2C00-5802-4710-BA94-2A4BF62B49C3}"/>
          </ac:spMkLst>
        </pc:spChg>
        <pc:spChg chg="mod">
          <ac:chgData name="Marco Soares" userId="d0da0a5a-bb2d-4628-9140-122d0f91b28a" providerId="ADAL" clId="{DE1D7259-EAA4-44F5-878A-0D80DBEF94A3}" dt="2022-08-22T20:17:31.413" v="908" actId="20577"/>
          <ac:spMkLst>
            <pc:docMk/>
            <pc:sldMk cId="345468716" sldId="311"/>
            <ac:spMk id="8" creationId="{38E08B49-77A0-4C2D-A9C6-1F85DDA2BC1C}"/>
          </ac:spMkLst>
        </pc:spChg>
        <pc:spChg chg="del">
          <ac:chgData name="Marco Soares" userId="d0da0a5a-bb2d-4628-9140-122d0f91b28a" providerId="ADAL" clId="{DE1D7259-EAA4-44F5-878A-0D80DBEF94A3}" dt="2022-08-22T18:36:12.924" v="563" actId="478"/>
          <ac:spMkLst>
            <pc:docMk/>
            <pc:sldMk cId="345468716" sldId="311"/>
            <ac:spMk id="9" creationId="{811A59D0-2152-4C67-B5FE-4329D79E8B32}"/>
          </ac:spMkLst>
        </pc:spChg>
        <pc:spChg chg="del">
          <ac:chgData name="Marco Soares" userId="d0da0a5a-bb2d-4628-9140-122d0f91b28a" providerId="ADAL" clId="{DE1D7259-EAA4-44F5-878A-0D80DBEF94A3}" dt="2022-08-22T17:19:24.220" v="253" actId="478"/>
          <ac:spMkLst>
            <pc:docMk/>
            <pc:sldMk cId="345468716" sldId="311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19:20.112" v="251" actId="478"/>
          <ac:picMkLst>
            <pc:docMk/>
            <pc:sldMk cId="345468716" sldId="311"/>
            <ac:picMk id="14" creationId="{60054585-0C22-4704-93B0-B1C638E4011C}"/>
          </ac:picMkLst>
        </pc:picChg>
      </pc:sldChg>
      <pc:sldChg chg="delSp modSp mod">
        <pc:chgData name="Marco Soares" userId="d0da0a5a-bb2d-4628-9140-122d0f91b28a" providerId="ADAL" clId="{DE1D7259-EAA4-44F5-878A-0D80DBEF94A3}" dt="2022-08-22T20:03:06.170" v="876" actId="207"/>
        <pc:sldMkLst>
          <pc:docMk/>
          <pc:sldMk cId="3887127161" sldId="312"/>
        </pc:sldMkLst>
        <pc:spChg chg="mod">
          <ac:chgData name="Marco Soares" userId="d0da0a5a-bb2d-4628-9140-122d0f91b28a" providerId="ADAL" clId="{DE1D7259-EAA4-44F5-878A-0D80DBEF94A3}" dt="2022-08-22T20:03:06.170" v="876" actId="207"/>
          <ac:spMkLst>
            <pc:docMk/>
            <pc:sldMk cId="3887127161" sldId="312"/>
            <ac:spMk id="6" creationId="{14356851-B618-450E-9945-1243A30E31CC}"/>
          </ac:spMkLst>
        </pc:spChg>
        <pc:spChg chg="del">
          <ac:chgData name="Marco Soares" userId="d0da0a5a-bb2d-4628-9140-122d0f91b28a" providerId="ADAL" clId="{DE1D7259-EAA4-44F5-878A-0D80DBEF94A3}" dt="2022-08-22T20:02:51.210" v="873" actId="478"/>
          <ac:spMkLst>
            <pc:docMk/>
            <pc:sldMk cId="3887127161" sldId="312"/>
            <ac:spMk id="10" creationId="{50F039D4-7514-4A87-AC5E-6F8EB5DAD8A8}"/>
          </ac:spMkLst>
        </pc:spChg>
        <pc:spChg chg="del">
          <ac:chgData name="Marco Soares" userId="d0da0a5a-bb2d-4628-9140-122d0f91b28a" providerId="ADAL" clId="{DE1D7259-EAA4-44F5-878A-0D80DBEF94A3}" dt="2022-08-22T20:02:47.053" v="872" actId="478"/>
          <ac:spMkLst>
            <pc:docMk/>
            <pc:sldMk cId="3887127161" sldId="312"/>
            <ac:spMk id="11" creationId="{C568341E-0DBF-47AE-A8A0-0CA1FCEBC589}"/>
          </ac:spMkLst>
        </pc:spChg>
        <pc:spChg chg="del">
          <ac:chgData name="Marco Soares" userId="d0da0a5a-bb2d-4628-9140-122d0f91b28a" providerId="ADAL" clId="{DE1D7259-EAA4-44F5-878A-0D80DBEF94A3}" dt="2022-08-22T18:38:53.433" v="588" actId="478"/>
          <ac:spMkLst>
            <pc:docMk/>
            <pc:sldMk cId="3887127161" sldId="312"/>
            <ac:spMk id="12" creationId="{C4F616D3-3F00-42FE-9085-69C2E0D8C359}"/>
          </ac:spMkLst>
        </pc:spChg>
        <pc:picChg chg="del">
          <ac:chgData name="Marco Soares" userId="d0da0a5a-bb2d-4628-9140-122d0f91b28a" providerId="ADAL" clId="{DE1D7259-EAA4-44F5-878A-0D80DBEF94A3}" dt="2022-08-22T17:21:26.329" v="285" actId="478"/>
          <ac:picMkLst>
            <pc:docMk/>
            <pc:sldMk cId="3887127161" sldId="312"/>
            <ac:picMk id="14" creationId="{8500C230-FE9A-4C6C-A83D-608C361604FF}"/>
          </ac:picMkLst>
        </pc:picChg>
      </pc:sldChg>
      <pc:sldChg chg="addSp delSp modSp mod">
        <pc:chgData name="Marco Soares" userId="d0da0a5a-bb2d-4628-9140-122d0f91b28a" providerId="ADAL" clId="{DE1D7259-EAA4-44F5-878A-0D80DBEF94A3}" dt="2022-08-22T20:04:53.953" v="880" actId="1076"/>
        <pc:sldMkLst>
          <pc:docMk/>
          <pc:sldMk cId="2578459873" sldId="313"/>
        </pc:sldMkLst>
        <pc:spChg chg="mod">
          <ac:chgData name="Marco Soares" userId="d0da0a5a-bb2d-4628-9140-122d0f91b28a" providerId="ADAL" clId="{DE1D7259-EAA4-44F5-878A-0D80DBEF94A3}" dt="2022-08-22T17:21:31.142" v="287"/>
          <ac:spMkLst>
            <pc:docMk/>
            <pc:sldMk cId="2578459873" sldId="313"/>
            <ac:spMk id="2" creationId="{1471D58D-C159-4F3B-B76D-0DCAE38DEBDA}"/>
          </ac:spMkLst>
        </pc:spChg>
        <pc:spChg chg="del">
          <ac:chgData name="Marco Soares" userId="d0da0a5a-bb2d-4628-9140-122d0f91b28a" providerId="ADAL" clId="{DE1D7259-EAA4-44F5-878A-0D80DBEF94A3}" dt="2022-08-22T20:04:30.270" v="877" actId="478"/>
          <ac:spMkLst>
            <pc:docMk/>
            <pc:sldMk cId="2578459873" sldId="313"/>
            <ac:spMk id="3" creationId="{57EBC741-0B32-4BF0-83B3-C76A5EB33E31}"/>
          </ac:spMkLst>
        </pc:spChg>
        <pc:spChg chg="del">
          <ac:chgData name="Marco Soares" userId="d0da0a5a-bb2d-4628-9140-122d0f91b28a" providerId="ADAL" clId="{DE1D7259-EAA4-44F5-878A-0D80DBEF94A3}" dt="2022-08-22T18:39:05.074" v="590" actId="478"/>
          <ac:spMkLst>
            <pc:docMk/>
            <pc:sldMk cId="2578459873" sldId="313"/>
            <ac:spMk id="5" creationId="{7508AAA0-EBE7-4B6E-A2BE-B71932571D0B}"/>
          </ac:spMkLst>
        </pc:spChg>
        <pc:spChg chg="mod">
          <ac:chgData name="Marco Soares" userId="d0da0a5a-bb2d-4628-9140-122d0f91b28a" providerId="ADAL" clId="{DE1D7259-EAA4-44F5-878A-0D80DBEF94A3}" dt="2022-08-22T20:04:53.953" v="880" actId="1076"/>
          <ac:spMkLst>
            <pc:docMk/>
            <pc:sldMk cId="2578459873" sldId="313"/>
            <ac:spMk id="6" creationId="{14356851-B618-450E-9945-1243A30E31CC}"/>
          </ac:spMkLst>
        </pc:spChg>
        <pc:spChg chg="add del">
          <ac:chgData name="Marco Soares" userId="d0da0a5a-bb2d-4628-9140-122d0f91b28a" providerId="ADAL" clId="{DE1D7259-EAA4-44F5-878A-0D80DBEF94A3}" dt="2022-08-22T17:21:39.314" v="290" actId="478"/>
          <ac:spMkLst>
            <pc:docMk/>
            <pc:sldMk cId="2578459873" sldId="313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21:29.440" v="286" actId="478"/>
          <ac:picMkLst>
            <pc:docMk/>
            <pc:sldMk cId="2578459873" sldId="313"/>
            <ac:picMk id="7" creationId="{771FCFBF-4902-4C84-BD1F-DF9EE6B5F8DF}"/>
          </ac:picMkLst>
        </pc:picChg>
      </pc:sldChg>
      <pc:sldChg chg="delSp modSp mod">
        <pc:chgData name="Marco Soares" userId="d0da0a5a-bb2d-4628-9140-122d0f91b28a" providerId="ADAL" clId="{DE1D7259-EAA4-44F5-878A-0D80DBEF94A3}" dt="2022-08-22T20:05:31.935" v="884" actId="14100"/>
        <pc:sldMkLst>
          <pc:docMk/>
          <pc:sldMk cId="3135686382" sldId="314"/>
        </pc:sldMkLst>
        <pc:spChg chg="mod">
          <ac:chgData name="Marco Soares" userId="d0da0a5a-bb2d-4628-9140-122d0f91b28a" providerId="ADAL" clId="{DE1D7259-EAA4-44F5-878A-0D80DBEF94A3}" dt="2022-08-22T20:05:31.935" v="884" actId="14100"/>
          <ac:spMkLst>
            <pc:docMk/>
            <pc:sldMk cId="3135686382" sldId="314"/>
            <ac:spMk id="2" creationId="{D863939F-4613-4D73-93D6-BF6D16BCAEB5}"/>
          </ac:spMkLst>
        </pc:spChg>
        <pc:spChg chg="del">
          <ac:chgData name="Marco Soares" userId="d0da0a5a-bb2d-4628-9140-122d0f91b28a" providerId="ADAL" clId="{DE1D7259-EAA4-44F5-878A-0D80DBEF94A3}" dt="2022-08-22T20:05:24.472" v="882" actId="478"/>
          <ac:spMkLst>
            <pc:docMk/>
            <pc:sldMk cId="3135686382" sldId="314"/>
            <ac:spMk id="3" creationId="{36B7FEE9-0C82-4552-B257-AB9EA5007485}"/>
          </ac:spMkLst>
        </pc:spChg>
        <pc:spChg chg="del">
          <ac:chgData name="Marco Soares" userId="d0da0a5a-bb2d-4628-9140-122d0f91b28a" providerId="ADAL" clId="{DE1D7259-EAA4-44F5-878A-0D80DBEF94A3}" dt="2022-08-22T17:21:50.443" v="293" actId="478"/>
          <ac:spMkLst>
            <pc:docMk/>
            <pc:sldMk cId="3135686382" sldId="314"/>
            <ac:spMk id="4" creationId="{00000000-0000-0000-0000-000000000000}"/>
          </ac:spMkLst>
        </pc:spChg>
        <pc:spChg chg="del">
          <ac:chgData name="Marco Soares" userId="d0da0a5a-bb2d-4628-9140-122d0f91b28a" providerId="ADAL" clId="{DE1D7259-EAA4-44F5-878A-0D80DBEF94A3}" dt="2022-08-22T20:05:22.016" v="881" actId="478"/>
          <ac:spMkLst>
            <pc:docMk/>
            <pc:sldMk cId="3135686382" sldId="314"/>
            <ac:spMk id="5" creationId="{AA29C41A-802A-4C54-9705-8202C97843CA}"/>
          </ac:spMkLst>
        </pc:spChg>
        <pc:spChg chg="del">
          <ac:chgData name="Marco Soares" userId="d0da0a5a-bb2d-4628-9140-122d0f91b28a" providerId="ADAL" clId="{DE1D7259-EAA4-44F5-878A-0D80DBEF94A3}" dt="2022-08-22T17:21:47.444" v="292" actId="478"/>
          <ac:spMkLst>
            <pc:docMk/>
            <pc:sldMk cId="3135686382" sldId="314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21:44.297" v="291" actId="478"/>
          <ac:picMkLst>
            <pc:docMk/>
            <pc:sldMk cId="3135686382" sldId="314"/>
            <ac:picMk id="15" creationId="{BB338CCC-B818-466C-A1C3-4A04B0B49CFA}"/>
          </ac:picMkLst>
        </pc:picChg>
      </pc:sldChg>
      <pc:sldChg chg="delSp modSp mod">
        <pc:chgData name="Marco Soares" userId="d0da0a5a-bb2d-4628-9140-122d0f91b28a" providerId="ADAL" clId="{DE1D7259-EAA4-44F5-878A-0D80DBEF94A3}" dt="2022-08-22T20:06:19.062" v="890" actId="1076"/>
        <pc:sldMkLst>
          <pc:docMk/>
          <pc:sldMk cId="910491148" sldId="315"/>
        </pc:sldMkLst>
        <pc:spChg chg="mod">
          <ac:chgData name="Marco Soares" userId="d0da0a5a-bb2d-4628-9140-122d0f91b28a" providerId="ADAL" clId="{DE1D7259-EAA4-44F5-878A-0D80DBEF94A3}" dt="2022-08-22T17:22:15.007" v="303" actId="20577"/>
          <ac:spMkLst>
            <pc:docMk/>
            <pc:sldMk cId="910491148" sldId="315"/>
            <ac:spMk id="2" creationId="{DF969731-12A1-453D-B6EC-92DFFCBE3EC4}"/>
          </ac:spMkLst>
        </pc:spChg>
        <pc:spChg chg="del">
          <ac:chgData name="Marco Soares" userId="d0da0a5a-bb2d-4628-9140-122d0f91b28a" providerId="ADAL" clId="{DE1D7259-EAA4-44F5-878A-0D80DBEF94A3}" dt="2022-08-22T20:05:46.726" v="885" actId="478"/>
          <ac:spMkLst>
            <pc:docMk/>
            <pc:sldMk cId="910491148" sldId="315"/>
            <ac:spMk id="3" creationId="{6C6BB656-93B7-4453-BBD1-23BFA544AA18}"/>
          </ac:spMkLst>
        </pc:spChg>
        <pc:spChg chg="del">
          <ac:chgData name="Marco Soares" userId="d0da0a5a-bb2d-4628-9140-122d0f91b28a" providerId="ADAL" clId="{DE1D7259-EAA4-44F5-878A-0D80DBEF94A3}" dt="2022-08-22T17:22:08.504" v="299" actId="478"/>
          <ac:spMkLst>
            <pc:docMk/>
            <pc:sldMk cId="910491148" sldId="315"/>
            <ac:spMk id="4" creationId="{00000000-0000-0000-0000-000000000000}"/>
          </ac:spMkLst>
        </pc:spChg>
        <pc:spChg chg="del">
          <ac:chgData name="Marco Soares" userId="d0da0a5a-bb2d-4628-9140-122d0f91b28a" providerId="ADAL" clId="{DE1D7259-EAA4-44F5-878A-0D80DBEF94A3}" dt="2022-08-22T18:39:21.297" v="592" actId="478"/>
          <ac:spMkLst>
            <pc:docMk/>
            <pc:sldMk cId="910491148" sldId="315"/>
            <ac:spMk id="5" creationId="{1CD1CDD9-C098-41BE-858A-205134E46F11}"/>
          </ac:spMkLst>
        </pc:spChg>
        <pc:spChg chg="mod">
          <ac:chgData name="Marco Soares" userId="d0da0a5a-bb2d-4628-9140-122d0f91b28a" providerId="ADAL" clId="{DE1D7259-EAA4-44F5-878A-0D80DBEF94A3}" dt="2022-08-22T20:06:19.062" v="890" actId="1076"/>
          <ac:spMkLst>
            <pc:docMk/>
            <pc:sldMk cId="910491148" sldId="315"/>
            <ac:spMk id="6" creationId="{14356851-B618-450E-9945-1243A30E31CC}"/>
          </ac:spMkLst>
        </pc:spChg>
        <pc:spChg chg="del mod">
          <ac:chgData name="Marco Soares" userId="d0da0a5a-bb2d-4628-9140-122d0f91b28a" providerId="ADAL" clId="{DE1D7259-EAA4-44F5-878A-0D80DBEF94A3}" dt="2022-08-22T17:22:06.235" v="298"/>
          <ac:spMkLst>
            <pc:docMk/>
            <pc:sldMk cId="910491148" sldId="315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22:06.231" v="296" actId="478"/>
          <ac:picMkLst>
            <pc:docMk/>
            <pc:sldMk cId="910491148" sldId="315"/>
            <ac:picMk id="7" creationId="{8A11CA7A-7A7B-41B6-BB09-3F9308BE9FE6}"/>
          </ac:picMkLst>
        </pc:picChg>
      </pc:sldChg>
      <pc:sldChg chg="delSp modSp mod">
        <pc:chgData name="Marco Soares" userId="d0da0a5a-bb2d-4628-9140-122d0f91b28a" providerId="ADAL" clId="{DE1D7259-EAA4-44F5-878A-0D80DBEF94A3}" dt="2022-08-22T20:10:23.549" v="903" actId="14100"/>
        <pc:sldMkLst>
          <pc:docMk/>
          <pc:sldMk cId="107169246" sldId="316"/>
        </pc:sldMkLst>
        <pc:spChg chg="mod">
          <ac:chgData name="Marco Soares" userId="d0da0a5a-bb2d-4628-9140-122d0f91b28a" providerId="ADAL" clId="{DE1D7259-EAA4-44F5-878A-0D80DBEF94A3}" dt="2022-08-22T17:22:28.953" v="307"/>
          <ac:spMkLst>
            <pc:docMk/>
            <pc:sldMk cId="107169246" sldId="316"/>
            <ac:spMk id="2" creationId="{78DDA1A6-394A-4A2A-81FB-4A870B7D63C2}"/>
          </ac:spMkLst>
        </pc:spChg>
        <pc:spChg chg="del">
          <ac:chgData name="Marco Soares" userId="d0da0a5a-bb2d-4628-9140-122d0f91b28a" providerId="ADAL" clId="{DE1D7259-EAA4-44F5-878A-0D80DBEF94A3}" dt="2022-08-22T20:06:35.183" v="891" actId="478"/>
          <ac:spMkLst>
            <pc:docMk/>
            <pc:sldMk cId="107169246" sldId="316"/>
            <ac:spMk id="3" creationId="{8C0DF68A-D0E4-451B-81CE-9C892363BBAB}"/>
          </ac:spMkLst>
        </pc:spChg>
        <pc:spChg chg="del">
          <ac:chgData name="Marco Soares" userId="d0da0a5a-bb2d-4628-9140-122d0f91b28a" providerId="ADAL" clId="{DE1D7259-EAA4-44F5-878A-0D80DBEF94A3}" dt="2022-08-22T17:22:27.626" v="306" actId="478"/>
          <ac:spMkLst>
            <pc:docMk/>
            <pc:sldMk cId="107169246" sldId="316"/>
            <ac:spMk id="4" creationId="{00000000-0000-0000-0000-000000000000}"/>
          </ac:spMkLst>
        </pc:spChg>
        <pc:spChg chg="del">
          <ac:chgData name="Marco Soares" userId="d0da0a5a-bb2d-4628-9140-122d0f91b28a" providerId="ADAL" clId="{DE1D7259-EAA4-44F5-878A-0D80DBEF94A3}" dt="2022-08-22T18:39:35.164" v="595" actId="478"/>
          <ac:spMkLst>
            <pc:docMk/>
            <pc:sldMk cId="107169246" sldId="316"/>
            <ac:spMk id="5" creationId="{2CA2BB39-82CA-4C3C-A36A-9FFC8E277672}"/>
          </ac:spMkLst>
        </pc:spChg>
        <pc:spChg chg="mod">
          <ac:chgData name="Marco Soares" userId="d0da0a5a-bb2d-4628-9140-122d0f91b28a" providerId="ADAL" clId="{DE1D7259-EAA4-44F5-878A-0D80DBEF94A3}" dt="2022-08-22T20:10:23.549" v="903" actId="14100"/>
          <ac:spMkLst>
            <pc:docMk/>
            <pc:sldMk cId="107169246" sldId="316"/>
            <ac:spMk id="6" creationId="{14356851-B618-450E-9945-1243A30E31CC}"/>
          </ac:spMkLst>
        </pc:spChg>
        <pc:spChg chg="del">
          <ac:chgData name="Marco Soares" userId="d0da0a5a-bb2d-4628-9140-122d0f91b28a" providerId="ADAL" clId="{DE1D7259-EAA4-44F5-878A-0D80DBEF94A3}" dt="2022-08-22T17:22:25.651" v="305" actId="478"/>
          <ac:spMkLst>
            <pc:docMk/>
            <pc:sldMk cId="107169246" sldId="316"/>
            <ac:spMk id="12" creationId="{72CB4501-AE8E-46C9-9430-6CB2F1F5B04E}"/>
          </ac:spMkLst>
        </pc:spChg>
        <pc:picChg chg="del">
          <ac:chgData name="Marco Soares" userId="d0da0a5a-bb2d-4628-9140-122d0f91b28a" providerId="ADAL" clId="{DE1D7259-EAA4-44F5-878A-0D80DBEF94A3}" dt="2022-08-22T17:22:22.862" v="304" actId="478"/>
          <ac:picMkLst>
            <pc:docMk/>
            <pc:sldMk cId="107169246" sldId="316"/>
            <ac:picMk id="7" creationId="{3BBB6922-DB28-4996-904B-C85A57D45A55}"/>
          </ac:picMkLst>
        </pc:picChg>
      </pc:sldChg>
    </pc:docChg>
  </pc:docChgLst>
  <pc:docChgLst>
    <pc:chgData name="Marco Soares" userId="d0da0a5a-bb2d-4628-9140-122d0f91b28a" providerId="ADAL" clId="{55BDFB8B-C148-4D5B-AB22-5B7B6ABF732B}"/>
    <pc:docChg chg="modSld">
      <pc:chgData name="Marco Soares" userId="d0da0a5a-bb2d-4628-9140-122d0f91b28a" providerId="ADAL" clId="{55BDFB8B-C148-4D5B-AB22-5B7B6ABF732B}" dt="2022-11-11T18:11:00.429" v="27" actId="20577"/>
      <pc:docMkLst>
        <pc:docMk/>
      </pc:docMkLst>
      <pc:sldChg chg="modSp mod">
        <pc:chgData name="Marco Soares" userId="d0da0a5a-bb2d-4628-9140-122d0f91b28a" providerId="ADAL" clId="{55BDFB8B-C148-4D5B-AB22-5B7B6ABF732B}" dt="2022-11-11T13:17:15.901" v="1"/>
        <pc:sldMkLst>
          <pc:docMk/>
          <pc:sldMk cId="1710844466" sldId="257"/>
        </pc:sldMkLst>
        <pc:spChg chg="mod">
          <ac:chgData name="Marco Soares" userId="d0da0a5a-bb2d-4628-9140-122d0f91b28a" providerId="ADAL" clId="{55BDFB8B-C148-4D5B-AB22-5B7B6ABF732B}" dt="2022-11-11T13:17:15.901" v="1"/>
          <ac:spMkLst>
            <pc:docMk/>
            <pc:sldMk cId="1710844466" sldId="257"/>
            <ac:spMk id="7" creationId="{840277C0-DE09-46A5-A811-08CCE993575A}"/>
          </ac:spMkLst>
        </pc:spChg>
      </pc:sldChg>
      <pc:sldChg chg="modSp mod">
        <pc:chgData name="Marco Soares" userId="d0da0a5a-bb2d-4628-9140-122d0f91b28a" providerId="ADAL" clId="{55BDFB8B-C148-4D5B-AB22-5B7B6ABF732B}" dt="2022-11-11T18:11:00.429" v="27" actId="20577"/>
        <pc:sldMkLst>
          <pc:docMk/>
          <pc:sldMk cId="3074453057" sldId="307"/>
        </pc:sldMkLst>
        <pc:spChg chg="mod">
          <ac:chgData name="Marco Soares" userId="d0da0a5a-bb2d-4628-9140-122d0f91b28a" providerId="ADAL" clId="{55BDFB8B-C148-4D5B-AB22-5B7B6ABF732B}" dt="2022-11-11T18:11:00.429" v="27" actId="20577"/>
          <ac:spMkLst>
            <pc:docMk/>
            <pc:sldMk cId="3074453057" sldId="307"/>
            <ac:spMk id="6" creationId="{586B2C00-5802-4710-BA94-2A4BF62B49C3}"/>
          </ac:spMkLst>
        </pc:spChg>
      </pc:sldChg>
    </pc:docChg>
  </pc:docChgLst>
  <pc:docChgLst>
    <pc:chgData name="Marco Soares" userId="d0da0a5a-bb2d-4628-9140-122d0f91b28a" providerId="ADAL" clId="{9C716D8F-8829-42BC-924A-3E53FBB2B216}"/>
    <pc:docChg chg="undo custSel addSld modSld sldOrd modMainMaster">
      <pc:chgData name="Marco Soares" userId="d0da0a5a-bb2d-4628-9140-122d0f91b28a" providerId="ADAL" clId="{9C716D8F-8829-42BC-924A-3E53FBB2B216}" dt="2022-08-22T14:44:08.434" v="757" actId="1076"/>
      <pc:docMkLst>
        <pc:docMk/>
      </pc:docMkLst>
      <pc:sldChg chg="addSp delSp modSp mod modClrScheme chgLayout">
        <pc:chgData name="Marco Soares" userId="d0da0a5a-bb2d-4628-9140-122d0f91b28a" providerId="ADAL" clId="{9C716D8F-8829-42BC-924A-3E53FBB2B216}" dt="2022-08-22T14:43:08.514" v="751" actId="404"/>
        <pc:sldMkLst>
          <pc:docMk/>
          <pc:sldMk cId="2756949035" sldId="256"/>
        </pc:sldMkLst>
        <pc:spChg chg="add del mod ord">
          <ac:chgData name="Marco Soares" userId="d0da0a5a-bb2d-4628-9140-122d0f91b28a" providerId="ADAL" clId="{9C716D8F-8829-42BC-924A-3E53FBB2B216}" dt="2022-08-22T14:14:42.767" v="147" actId="700"/>
          <ac:spMkLst>
            <pc:docMk/>
            <pc:sldMk cId="2756949035" sldId="256"/>
            <ac:spMk id="2" creationId="{188CA594-25D3-4F4F-9B1E-EEE38E9A6039}"/>
          </ac:spMkLst>
        </pc:spChg>
        <pc:spChg chg="add del mod ord">
          <ac:chgData name="Marco Soares" userId="d0da0a5a-bb2d-4628-9140-122d0f91b28a" providerId="ADAL" clId="{9C716D8F-8829-42BC-924A-3E53FBB2B216}" dt="2022-08-22T14:14:42.767" v="147" actId="700"/>
          <ac:spMkLst>
            <pc:docMk/>
            <pc:sldMk cId="2756949035" sldId="256"/>
            <ac:spMk id="4" creationId="{EAF9538B-78F0-4E74-AB6E-692133A4362A}"/>
          </ac:spMkLst>
        </pc:spChg>
        <pc:spChg chg="add del mod ord">
          <ac:chgData name="Marco Soares" userId="d0da0a5a-bb2d-4628-9140-122d0f91b28a" providerId="ADAL" clId="{9C716D8F-8829-42BC-924A-3E53FBB2B216}" dt="2022-08-22T14:14:42.767" v="147" actId="700"/>
          <ac:spMkLst>
            <pc:docMk/>
            <pc:sldMk cId="2756949035" sldId="256"/>
            <ac:spMk id="5" creationId="{0602FDA6-3E8C-4BDB-85C9-41E279A7B419}"/>
          </ac:spMkLst>
        </pc:spChg>
        <pc:spChg chg="del mod">
          <ac:chgData name="Marco Soares" userId="d0da0a5a-bb2d-4628-9140-122d0f91b28a" providerId="ADAL" clId="{9C716D8F-8829-42BC-924A-3E53FBB2B216}" dt="2022-08-22T14:20:42.519" v="283"/>
          <ac:spMkLst>
            <pc:docMk/>
            <pc:sldMk cId="2756949035" sldId="256"/>
            <ac:spMk id="7" creationId="{00000000-0000-0000-0000-000000000000}"/>
          </ac:spMkLst>
        </pc:spChg>
        <pc:spChg chg="add del mod ord">
          <ac:chgData name="Marco Soares" userId="d0da0a5a-bb2d-4628-9140-122d0f91b28a" providerId="ADAL" clId="{9C716D8F-8829-42BC-924A-3E53FBB2B216}" dt="2022-08-22T14:14:42.767" v="147" actId="700"/>
          <ac:spMkLst>
            <pc:docMk/>
            <pc:sldMk cId="2756949035" sldId="256"/>
            <ac:spMk id="8" creationId="{7791C1CE-9A5B-4E4E-AB6F-BD0EB498EDC7}"/>
          </ac:spMkLst>
        </pc:spChg>
        <pc:spChg chg="add del mod ord">
          <ac:chgData name="Marco Soares" userId="d0da0a5a-bb2d-4628-9140-122d0f91b28a" providerId="ADAL" clId="{9C716D8F-8829-42BC-924A-3E53FBB2B216}" dt="2022-08-22T14:17:12.416" v="153" actId="700"/>
          <ac:spMkLst>
            <pc:docMk/>
            <pc:sldMk cId="2756949035" sldId="256"/>
            <ac:spMk id="9" creationId="{99549254-8629-4501-BD26-0011A4FB47A7}"/>
          </ac:spMkLst>
        </pc:spChg>
        <pc:spChg chg="del mod">
          <ac:chgData name="Marco Soares" userId="d0da0a5a-bb2d-4628-9140-122d0f91b28a" providerId="ADAL" clId="{9C716D8F-8829-42BC-924A-3E53FBB2B216}" dt="2022-08-22T14:20:26.752" v="279"/>
          <ac:spMkLst>
            <pc:docMk/>
            <pc:sldMk cId="2756949035" sldId="256"/>
            <ac:spMk id="10" creationId="{00000000-0000-0000-0000-000000000000}"/>
          </ac:spMkLst>
        </pc:spChg>
        <pc:spChg chg="add del mod ord">
          <ac:chgData name="Marco Soares" userId="d0da0a5a-bb2d-4628-9140-122d0f91b28a" providerId="ADAL" clId="{9C716D8F-8829-42BC-924A-3E53FBB2B216}" dt="2022-08-22T14:17:12.416" v="153" actId="700"/>
          <ac:spMkLst>
            <pc:docMk/>
            <pc:sldMk cId="2756949035" sldId="256"/>
            <ac:spMk id="11" creationId="{BA875DD6-79A2-4802-8603-9AA05FFE68A4}"/>
          </ac:spMkLst>
        </pc:spChg>
        <pc:spChg chg="add del mod ord">
          <ac:chgData name="Marco Soares" userId="d0da0a5a-bb2d-4628-9140-122d0f91b28a" providerId="ADAL" clId="{9C716D8F-8829-42BC-924A-3E53FBB2B216}" dt="2022-08-22T14:17:12.416" v="153" actId="700"/>
          <ac:spMkLst>
            <pc:docMk/>
            <pc:sldMk cId="2756949035" sldId="256"/>
            <ac:spMk id="12" creationId="{279F1108-A864-4C73-9CA9-4CB728247349}"/>
          </ac:spMkLst>
        </pc:spChg>
        <pc:spChg chg="add del mod ord">
          <ac:chgData name="Marco Soares" userId="d0da0a5a-bb2d-4628-9140-122d0f91b28a" providerId="ADAL" clId="{9C716D8F-8829-42BC-924A-3E53FBB2B216}" dt="2022-08-22T14:17:12.416" v="153" actId="700"/>
          <ac:spMkLst>
            <pc:docMk/>
            <pc:sldMk cId="2756949035" sldId="256"/>
            <ac:spMk id="13" creationId="{6E9CDB82-492D-4559-8778-06F05B4CA786}"/>
          </ac:spMkLst>
        </pc:spChg>
        <pc:spChg chg="add mod ord">
          <ac:chgData name="Marco Soares" userId="d0da0a5a-bb2d-4628-9140-122d0f91b28a" providerId="ADAL" clId="{9C716D8F-8829-42BC-924A-3E53FBB2B216}" dt="2022-08-22T14:21:07.459" v="293" actId="1076"/>
          <ac:spMkLst>
            <pc:docMk/>
            <pc:sldMk cId="2756949035" sldId="256"/>
            <ac:spMk id="14" creationId="{869F3FA5-7478-4DE0-934B-D055B44FCCF5}"/>
          </ac:spMkLst>
        </pc:spChg>
        <pc:spChg chg="add del mod">
          <ac:chgData name="Marco Soares" userId="d0da0a5a-bb2d-4628-9140-122d0f91b28a" providerId="ADAL" clId="{9C716D8F-8829-42BC-924A-3E53FBB2B216}" dt="2022-08-22T14:20:42.519" v="285"/>
          <ac:spMkLst>
            <pc:docMk/>
            <pc:sldMk cId="2756949035" sldId="256"/>
            <ac:spMk id="15" creationId="{C78AFFE1-8EFC-4E82-8609-177B0A21C632}"/>
          </ac:spMkLst>
        </pc:spChg>
        <pc:spChg chg="add mod ord">
          <ac:chgData name="Marco Soares" userId="d0da0a5a-bb2d-4628-9140-122d0f91b28a" providerId="ADAL" clId="{9C716D8F-8829-42BC-924A-3E53FBB2B216}" dt="2022-08-22T14:42:31.756" v="745" actId="2711"/>
          <ac:spMkLst>
            <pc:docMk/>
            <pc:sldMk cId="2756949035" sldId="256"/>
            <ac:spMk id="16" creationId="{E1705D10-49A0-45D1-B066-0131E45961F7}"/>
          </ac:spMkLst>
        </pc:spChg>
        <pc:spChg chg="add mod ord">
          <ac:chgData name="Marco Soares" userId="d0da0a5a-bb2d-4628-9140-122d0f91b28a" providerId="ADAL" clId="{9C716D8F-8829-42BC-924A-3E53FBB2B216}" dt="2022-08-22T14:43:08.514" v="751" actId="404"/>
          <ac:spMkLst>
            <pc:docMk/>
            <pc:sldMk cId="2756949035" sldId="256"/>
            <ac:spMk id="17" creationId="{DE683CB8-0B6B-40EC-A7F6-DFAA9E8CEBCE}"/>
          </ac:spMkLst>
        </pc:spChg>
        <pc:spChg chg="add del mod ord">
          <ac:chgData name="Marco Soares" userId="d0da0a5a-bb2d-4628-9140-122d0f91b28a" providerId="ADAL" clId="{9C716D8F-8829-42BC-924A-3E53FBB2B216}" dt="2022-08-22T14:22:40.955" v="300" actId="931"/>
          <ac:spMkLst>
            <pc:docMk/>
            <pc:sldMk cId="2756949035" sldId="256"/>
            <ac:spMk id="18" creationId="{9CD2F3AC-8C55-442B-BD01-270DA63B7737}"/>
          </ac:spMkLst>
        </pc:spChg>
        <pc:picChg chg="del">
          <ac:chgData name="Marco Soares" userId="d0da0a5a-bb2d-4628-9140-122d0f91b28a" providerId="ADAL" clId="{9C716D8F-8829-42BC-924A-3E53FBB2B216}" dt="2022-08-22T14:17:16.685" v="155" actId="478"/>
          <ac:picMkLst>
            <pc:docMk/>
            <pc:sldMk cId="2756949035" sldId="256"/>
            <ac:picMk id="3" creationId="{FC34BDD3-7800-441A-85FD-317FE633A34C}"/>
          </ac:picMkLst>
        </pc:picChg>
        <pc:picChg chg="add del mod">
          <ac:chgData name="Marco Soares" userId="d0da0a5a-bb2d-4628-9140-122d0f91b28a" providerId="ADAL" clId="{9C716D8F-8829-42BC-924A-3E53FBB2B216}" dt="2022-08-22T13:58:18.659" v="4" actId="478"/>
          <ac:picMkLst>
            <pc:docMk/>
            <pc:sldMk cId="2756949035" sldId="256"/>
            <ac:picMk id="4" creationId="{9B57905E-9D02-4FD1-8B28-B56BBB6A8046}"/>
          </ac:picMkLst>
        </pc:picChg>
        <pc:picChg chg="add del mod">
          <ac:chgData name="Marco Soares" userId="d0da0a5a-bb2d-4628-9140-122d0f91b28a" providerId="ADAL" clId="{9C716D8F-8829-42BC-924A-3E53FBB2B216}" dt="2022-08-22T14:23:23.372" v="312" actId="478"/>
          <ac:picMkLst>
            <pc:docMk/>
            <pc:sldMk cId="2756949035" sldId="256"/>
            <ac:picMk id="6" creationId="{18C82BD7-164B-4F81-BC0F-F9AB0D9F33AB}"/>
          </ac:picMkLst>
        </pc:picChg>
        <pc:picChg chg="del">
          <ac:chgData name="Marco Soares" userId="d0da0a5a-bb2d-4628-9140-122d0f91b28a" providerId="ADAL" clId="{9C716D8F-8829-42BC-924A-3E53FBB2B216}" dt="2022-08-22T13:59:52.312" v="17" actId="478"/>
          <ac:picMkLst>
            <pc:docMk/>
            <pc:sldMk cId="2756949035" sldId="256"/>
            <ac:picMk id="13" creationId="{D419DF6B-5FE3-4D2F-BBA7-086DAB3F8BD2}"/>
          </ac:picMkLst>
        </pc:picChg>
        <pc:picChg chg="add mod ord">
          <ac:chgData name="Marco Soares" userId="d0da0a5a-bb2d-4628-9140-122d0f91b28a" providerId="ADAL" clId="{9C716D8F-8829-42BC-924A-3E53FBB2B216}" dt="2022-08-22T14:23:13.317" v="310" actId="167"/>
          <ac:picMkLst>
            <pc:docMk/>
            <pc:sldMk cId="2756949035" sldId="256"/>
            <ac:picMk id="20" creationId="{7D7456F6-BB31-4287-9E05-0F985B5D50EB}"/>
          </ac:picMkLst>
        </pc:picChg>
        <pc:picChg chg="del">
          <ac:chgData name="Marco Soares" userId="d0da0a5a-bb2d-4628-9140-122d0f91b28a" providerId="ADAL" clId="{9C716D8F-8829-42BC-924A-3E53FBB2B216}" dt="2022-08-22T14:14:51.201" v="148" actId="478"/>
          <ac:picMkLst>
            <pc:docMk/>
            <pc:sldMk cId="2756949035" sldId="256"/>
            <ac:picMk id="1026" creationId="{00000000-0000-0000-0000-000000000000}"/>
          </ac:picMkLst>
        </pc:picChg>
      </pc:sldChg>
      <pc:sldChg chg="addSp delSp modSp mod setBg chgLayout">
        <pc:chgData name="Marco Soares" userId="d0da0a5a-bb2d-4628-9140-122d0f91b28a" providerId="ADAL" clId="{9C716D8F-8829-42BC-924A-3E53FBB2B216}" dt="2022-08-22T14:43:42.678" v="754" actId="1076"/>
        <pc:sldMkLst>
          <pc:docMk/>
          <pc:sldMk cId="1710844466" sldId="257"/>
        </pc:sldMkLst>
        <pc:spChg chg="add mod ord">
          <ac:chgData name="Marco Soares" userId="d0da0a5a-bb2d-4628-9140-122d0f91b28a" providerId="ADAL" clId="{9C716D8F-8829-42BC-924A-3E53FBB2B216}" dt="2022-08-22T14:25:42.693" v="322" actId="20577"/>
          <ac:spMkLst>
            <pc:docMk/>
            <pc:sldMk cId="1710844466" sldId="257"/>
            <ac:spMk id="2" creationId="{CB0956FD-A0B3-4E21-8DA9-C71A15BC35A2}"/>
          </ac:spMkLst>
        </pc:spChg>
        <pc:spChg chg="del mod">
          <ac:chgData name="Marco Soares" userId="d0da0a5a-bb2d-4628-9140-122d0f91b28a" providerId="ADAL" clId="{9C716D8F-8829-42BC-924A-3E53FBB2B216}" dt="2022-08-22T14:25:58.960" v="325" actId="478"/>
          <ac:spMkLst>
            <pc:docMk/>
            <pc:sldMk cId="1710844466" sldId="257"/>
            <ac:spMk id="5" creationId="{00000000-0000-0000-0000-000000000000}"/>
          </ac:spMkLst>
        </pc:spChg>
        <pc:spChg chg="add mod ord">
          <ac:chgData name="Marco Soares" userId="d0da0a5a-bb2d-4628-9140-122d0f91b28a" providerId="ADAL" clId="{9C716D8F-8829-42BC-924A-3E53FBB2B216}" dt="2022-08-22T14:25:54.962" v="324" actId="20577"/>
          <ac:spMkLst>
            <pc:docMk/>
            <pc:sldMk cId="1710844466" sldId="257"/>
            <ac:spMk id="6" creationId="{D8E8A908-772C-4FE1-8B21-AAB1E4D51F99}"/>
          </ac:spMkLst>
        </pc:spChg>
        <pc:spChg chg="add mod ord">
          <ac:chgData name="Marco Soares" userId="d0da0a5a-bb2d-4628-9140-122d0f91b28a" providerId="ADAL" clId="{9C716D8F-8829-42BC-924A-3E53FBB2B216}" dt="2022-08-22T14:43:42.678" v="754" actId="1076"/>
          <ac:spMkLst>
            <pc:docMk/>
            <pc:sldMk cId="1710844466" sldId="257"/>
            <ac:spMk id="7" creationId="{840277C0-DE09-46A5-A811-08CCE993575A}"/>
          </ac:spMkLst>
        </pc:spChg>
        <pc:spChg chg="del mod">
          <ac:chgData name="Marco Soares" userId="d0da0a5a-bb2d-4628-9140-122d0f91b28a" providerId="ADAL" clId="{9C716D8F-8829-42BC-924A-3E53FBB2B216}" dt="2022-08-22T14:26:39.107" v="333" actId="478"/>
          <ac:spMkLst>
            <pc:docMk/>
            <pc:sldMk cId="1710844466" sldId="257"/>
            <ac:spMk id="15" creationId="{ED181793-C7C1-4A91-B8D3-D017C7B7005B}"/>
          </ac:spMkLst>
        </pc:spChg>
        <pc:picChg chg="del">
          <ac:chgData name="Marco Soares" userId="d0da0a5a-bb2d-4628-9140-122d0f91b28a" providerId="ADAL" clId="{9C716D8F-8829-42BC-924A-3E53FBB2B216}" dt="2022-08-22T14:14:55.915" v="149" actId="478"/>
          <ac:picMkLst>
            <pc:docMk/>
            <pc:sldMk cId="1710844466" sldId="257"/>
            <ac:picMk id="3" creationId="{00000000-0000-0000-0000-000000000000}"/>
          </ac:picMkLst>
        </pc:picChg>
        <pc:picChg chg="add del mod">
          <ac:chgData name="Marco Soares" userId="d0da0a5a-bb2d-4628-9140-122d0f91b28a" providerId="ADAL" clId="{9C716D8F-8829-42BC-924A-3E53FBB2B216}" dt="2022-08-22T14:25:36.624" v="320" actId="478"/>
          <ac:picMkLst>
            <pc:docMk/>
            <pc:sldMk cId="1710844466" sldId="257"/>
            <ac:picMk id="8" creationId="{751FCD59-1765-4391-9635-BB5F089E42C9}"/>
          </ac:picMkLst>
        </pc:picChg>
        <pc:picChg chg="del">
          <ac:chgData name="Marco Soares" userId="d0da0a5a-bb2d-4628-9140-122d0f91b28a" providerId="ADAL" clId="{9C716D8F-8829-42BC-924A-3E53FBB2B216}" dt="2022-08-22T14:03:03.250" v="19" actId="478"/>
          <ac:picMkLst>
            <pc:docMk/>
            <pc:sldMk cId="1710844466" sldId="257"/>
            <ac:picMk id="17" creationId="{191AA2AA-3A42-491E-B107-E8A92A9643B5}"/>
          </ac:picMkLst>
        </pc:picChg>
        <pc:picChg chg="mod">
          <ac:chgData name="Marco Soares" userId="d0da0a5a-bb2d-4628-9140-122d0f91b28a" providerId="ADAL" clId="{9C716D8F-8829-42BC-924A-3E53FBB2B216}" dt="2022-08-22T14:27:17.825" v="343" actId="14100"/>
          <ac:picMkLst>
            <pc:docMk/>
            <pc:sldMk cId="1710844466" sldId="257"/>
            <ac:picMk id="1028" creationId="{0D3A6449-46DB-4D3F-BC65-B4842EFE131B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28:10.281" v="347" actId="962"/>
        <pc:sldMkLst>
          <pc:docMk/>
          <pc:sldMk cId="1186067058" sldId="258"/>
        </pc:sldMkLst>
        <pc:spChg chg="add mod ord">
          <ac:chgData name="Marco Soares" userId="d0da0a5a-bb2d-4628-9140-122d0f91b28a" providerId="ADAL" clId="{9C716D8F-8829-42BC-924A-3E53FBB2B216}" dt="2022-08-22T14:27:39.437" v="344" actId="700"/>
          <ac:spMkLst>
            <pc:docMk/>
            <pc:sldMk cId="1186067058" sldId="258"/>
            <ac:spMk id="2" creationId="{4578F281-45D0-4205-B08E-FBEDBCDB3705}"/>
          </ac:spMkLst>
        </pc:spChg>
        <pc:spChg chg="add mod ord">
          <ac:chgData name="Marco Soares" userId="d0da0a5a-bb2d-4628-9140-122d0f91b28a" providerId="ADAL" clId="{9C716D8F-8829-42BC-924A-3E53FBB2B216}" dt="2022-08-22T14:27:39.437" v="344" actId="700"/>
          <ac:spMkLst>
            <pc:docMk/>
            <pc:sldMk cId="1186067058" sldId="258"/>
            <ac:spMk id="3" creationId="{1E422AF0-16C0-4997-A4AC-20BD58A7492C}"/>
          </ac:spMkLst>
        </pc:spChg>
        <pc:spChg chg="add mod ord">
          <ac:chgData name="Marco Soares" userId="d0da0a5a-bb2d-4628-9140-122d0f91b28a" providerId="ADAL" clId="{9C716D8F-8829-42BC-924A-3E53FBB2B216}" dt="2022-08-22T14:27:39.437" v="344" actId="700"/>
          <ac:spMkLst>
            <pc:docMk/>
            <pc:sldMk cId="1186067058" sldId="258"/>
            <ac:spMk id="5" creationId="{59940234-0F9B-42EC-8134-F7360116C603}"/>
          </ac:spMkLst>
        </pc:spChg>
        <pc:spChg chg="add del mod ord">
          <ac:chgData name="Marco Soares" userId="d0da0a5a-bb2d-4628-9140-122d0f91b28a" providerId="ADAL" clId="{9C716D8F-8829-42BC-924A-3E53FBB2B216}" dt="2022-08-22T14:28:07.346" v="345" actId="931"/>
          <ac:spMkLst>
            <pc:docMk/>
            <pc:sldMk cId="1186067058" sldId="258"/>
            <ac:spMk id="7" creationId="{8A384D9D-1D70-45A3-8109-C0A56A58FE8D}"/>
          </ac:spMkLst>
        </pc:spChg>
        <pc:picChg chg="add mod">
          <ac:chgData name="Marco Soares" userId="d0da0a5a-bb2d-4628-9140-122d0f91b28a" providerId="ADAL" clId="{9C716D8F-8829-42BC-924A-3E53FBB2B216}" dt="2022-08-22T14:03:13.234" v="24" actId="1076"/>
          <ac:picMkLst>
            <pc:docMk/>
            <pc:sldMk cId="1186067058" sldId="258"/>
            <ac:picMk id="6" creationId="{400FA966-2145-4F28-8EB8-18F34B154A56}"/>
          </ac:picMkLst>
        </pc:picChg>
        <pc:picChg chg="add mod">
          <ac:chgData name="Marco Soares" userId="d0da0a5a-bb2d-4628-9140-122d0f91b28a" providerId="ADAL" clId="{9C716D8F-8829-42BC-924A-3E53FBB2B216}" dt="2022-08-22T14:28:10.281" v="347" actId="962"/>
          <ac:picMkLst>
            <pc:docMk/>
            <pc:sldMk cId="1186067058" sldId="258"/>
            <ac:picMk id="9" creationId="{BE0EF4EE-042D-445D-A169-B56A310A7C65}"/>
          </ac:picMkLst>
        </pc:picChg>
        <pc:picChg chg="del">
          <ac:chgData name="Marco Soares" userId="d0da0a5a-bb2d-4628-9140-122d0f91b28a" providerId="ADAL" clId="{9C716D8F-8829-42BC-924A-3E53FBB2B216}" dt="2022-08-22T14:03:10.114" v="22" actId="478"/>
          <ac:picMkLst>
            <pc:docMk/>
            <pc:sldMk cId="1186067058" sldId="258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0:35.543" v="377" actId="207"/>
        <pc:sldMkLst>
          <pc:docMk/>
          <pc:sldMk cId="992292059" sldId="259"/>
        </pc:sldMkLst>
        <pc:spChg chg="add mod or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2" creationId="{262EEA97-05F5-4FDA-A31F-242D0341CC9A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4" creationId="{00000000-0000-0000-0000-000000000000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5" creationId="{FBE51574-B5CB-FAE1-2852-585BA22F16BF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6" creationId="{586B2C00-5802-4710-BA94-2A4BF62B49C3}"/>
          </ac:spMkLst>
        </pc:spChg>
        <pc:spChg chg="add mod or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7" creationId="{E24B498C-5E0A-446E-8197-DB3DB836AD49}"/>
          </ac:spMkLst>
        </pc:spChg>
        <pc:spChg chg="add mod or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8" creationId="{A117EFF7-F1A9-4A7C-8B58-67B9128E8774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12" creationId="{72CB4501-AE8E-46C9-9430-6CB2F1F5B04E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14" creationId="{A9D579D6-9DC1-9081-E0F9-8EB81301D382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20" creationId="{B6D94416-19CF-533D-8C93-D1CABC4FB7D9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29" creationId="{3D531AD3-875C-C2E8-42E8-CDDEA7A53B04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30" creationId="{BA0F0FA6-5340-AE87-8514-987498B816FC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37" creationId="{C37325F6-8579-9785-789C-04A0F8824007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62" creationId="{E580ECC1-3DC0-F754-FC96-665445E696AB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92" creationId="{48710528-7C09-19F3-DB19-53A610F7A007}"/>
          </ac:spMkLst>
        </pc:spChg>
        <pc:spChg chg="mod">
          <ac:chgData name="Marco Soares" userId="d0da0a5a-bb2d-4628-9140-122d0f91b28a" providerId="ADAL" clId="{9C716D8F-8829-42BC-924A-3E53FBB2B216}" dt="2022-08-22T14:30:35.543" v="377" actId="207"/>
          <ac:spMkLst>
            <pc:docMk/>
            <pc:sldMk cId="992292059" sldId="259"/>
            <ac:spMk id="100" creationId="{65DDAF09-A707-2853-960F-1FDE29A7F7CA}"/>
          </ac:spMkLst>
        </pc:spChg>
        <pc:picChg chg="mod">
          <ac:chgData name="Marco Soares" userId="d0da0a5a-bb2d-4628-9140-122d0f91b28a" providerId="ADAL" clId="{9C716D8F-8829-42BC-924A-3E53FBB2B216}" dt="2022-08-22T14:30:35.543" v="377" actId="207"/>
          <ac:picMkLst>
            <pc:docMk/>
            <pc:sldMk cId="992292059" sldId="259"/>
            <ac:picMk id="3" creationId="{96F704D2-9233-01F9-44BE-E60EE0157076}"/>
          </ac:picMkLst>
        </pc:picChg>
        <pc:picChg chg="del">
          <ac:chgData name="Marco Soares" userId="d0da0a5a-bb2d-4628-9140-122d0f91b28a" providerId="ADAL" clId="{9C716D8F-8829-42BC-924A-3E53FBB2B216}" dt="2022-08-22T14:03:16.875" v="25" actId="478"/>
          <ac:picMkLst>
            <pc:docMk/>
            <pc:sldMk cId="992292059" sldId="259"/>
            <ac:picMk id="17" creationId="{191AA2AA-3A42-491E-B107-E8A92A9643B5}"/>
          </ac:picMkLst>
        </pc:picChg>
        <pc:picChg chg="add del mod">
          <ac:chgData name="Marco Soares" userId="d0da0a5a-bb2d-4628-9140-122d0f91b28a" providerId="ADAL" clId="{9C716D8F-8829-42BC-924A-3E53FBB2B216}" dt="2022-08-22T14:28:26.107" v="349" actId="478"/>
          <ac:picMkLst>
            <pc:docMk/>
            <pc:sldMk cId="992292059" sldId="259"/>
            <ac:picMk id="24" creationId="{1CC5B262-72DC-4A28-9145-8CF59A69B91A}"/>
          </ac:picMkLst>
        </pc:picChg>
        <pc:picChg chg="mod">
          <ac:chgData name="Marco Soares" userId="d0da0a5a-bb2d-4628-9140-122d0f91b28a" providerId="ADAL" clId="{9C716D8F-8829-42BC-924A-3E53FBB2B216}" dt="2022-08-22T14:30:35.543" v="377" actId="207"/>
          <ac:picMkLst>
            <pc:docMk/>
            <pc:sldMk cId="992292059" sldId="259"/>
            <ac:picMk id="102" creationId="{B8A98A43-2D9E-D3CA-A0B4-9F22CD5672A4}"/>
          </ac:picMkLst>
        </pc:picChg>
        <pc:cxnChg chg="mod">
          <ac:chgData name="Marco Soares" userId="d0da0a5a-bb2d-4628-9140-122d0f91b28a" providerId="ADAL" clId="{9C716D8F-8829-42BC-924A-3E53FBB2B216}" dt="2022-08-22T14:30:35.543" v="377" actId="207"/>
          <ac:cxnSpMkLst>
            <pc:docMk/>
            <pc:sldMk cId="992292059" sldId="259"/>
            <ac:cxnSpMk id="10" creationId="{B3087E08-82B1-A5E8-4BB9-E603E3BF26DD}"/>
          </ac:cxnSpMkLst>
        </pc:cxnChg>
        <pc:cxnChg chg="mod">
          <ac:chgData name="Marco Soares" userId="d0da0a5a-bb2d-4628-9140-122d0f91b28a" providerId="ADAL" clId="{9C716D8F-8829-42BC-924A-3E53FBB2B216}" dt="2022-08-22T14:30:35.543" v="377" actId="207"/>
          <ac:cxnSpMkLst>
            <pc:docMk/>
            <pc:sldMk cId="992292059" sldId="259"/>
            <ac:cxnSpMk id="18" creationId="{792348E2-DEAF-9EC4-ECB7-BC035D1E24AE}"/>
          </ac:cxnSpMkLst>
        </pc:cxnChg>
        <pc:cxnChg chg="mod">
          <ac:chgData name="Marco Soares" userId="d0da0a5a-bb2d-4628-9140-122d0f91b28a" providerId="ADAL" clId="{9C716D8F-8829-42BC-924A-3E53FBB2B216}" dt="2022-08-22T14:30:35.543" v="377" actId="207"/>
          <ac:cxnSpMkLst>
            <pc:docMk/>
            <pc:sldMk cId="992292059" sldId="259"/>
            <ac:cxnSpMk id="21" creationId="{016DF467-F6B1-6138-EE08-167262A148D1}"/>
          </ac:cxnSpMkLst>
        </pc:cxnChg>
        <pc:cxnChg chg="mod">
          <ac:chgData name="Marco Soares" userId="d0da0a5a-bb2d-4628-9140-122d0f91b28a" providerId="ADAL" clId="{9C716D8F-8829-42BC-924A-3E53FBB2B216}" dt="2022-08-22T14:30:35.543" v="377" actId="207"/>
          <ac:cxnSpMkLst>
            <pc:docMk/>
            <pc:sldMk cId="992292059" sldId="259"/>
            <ac:cxnSpMk id="25" creationId="{67EC71A1-3D31-4819-EC95-D18E20969C2D}"/>
          </ac:cxnSpMkLst>
        </pc:cxnChg>
        <pc:cxnChg chg="mod">
          <ac:chgData name="Marco Soares" userId="d0da0a5a-bb2d-4628-9140-122d0f91b28a" providerId="ADAL" clId="{9C716D8F-8829-42BC-924A-3E53FBB2B216}" dt="2022-08-22T14:30:35.543" v="377" actId="207"/>
          <ac:cxnSpMkLst>
            <pc:docMk/>
            <pc:sldMk cId="992292059" sldId="259"/>
            <ac:cxnSpMk id="32" creationId="{07BF29AC-A6DE-3881-5D19-B809992D5D40}"/>
          </ac:cxnSpMkLst>
        </pc:cxnChg>
        <pc:cxnChg chg="mod">
          <ac:chgData name="Marco Soares" userId="d0da0a5a-bb2d-4628-9140-122d0f91b28a" providerId="ADAL" clId="{9C716D8F-8829-42BC-924A-3E53FBB2B216}" dt="2022-08-22T14:30:35.543" v="377" actId="207"/>
          <ac:cxnSpMkLst>
            <pc:docMk/>
            <pc:sldMk cId="992292059" sldId="259"/>
            <ac:cxnSpMk id="49" creationId="{2B6F399E-0E74-A748-CC13-07B5CD5424A5}"/>
          </ac:cxnSpMkLst>
        </pc:cxnChg>
        <pc:cxnChg chg="mod">
          <ac:chgData name="Marco Soares" userId="d0da0a5a-bb2d-4628-9140-122d0f91b28a" providerId="ADAL" clId="{9C716D8F-8829-42BC-924A-3E53FBB2B216}" dt="2022-08-22T14:30:35.543" v="377" actId="207"/>
          <ac:cxnSpMkLst>
            <pc:docMk/>
            <pc:sldMk cId="992292059" sldId="259"/>
            <ac:cxnSpMk id="93" creationId="{4D82F3F8-E1E7-5F08-2047-F0A9E02B4B54}"/>
          </ac:cxnSpMkLst>
        </pc:cxnChg>
      </pc:sldChg>
      <pc:sldChg chg="addSp delSp modSp mod modClrScheme chgLayout">
        <pc:chgData name="Marco Soares" userId="d0da0a5a-bb2d-4628-9140-122d0f91b28a" providerId="ADAL" clId="{9C716D8F-8829-42BC-924A-3E53FBB2B216}" dt="2022-08-22T14:39:36.636" v="706" actId="700"/>
        <pc:sldMkLst>
          <pc:docMk/>
          <pc:sldMk cId="2748664132" sldId="263"/>
        </pc:sldMkLst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2748664132" sldId="263"/>
            <ac:spMk id="2" creationId="{533D6099-C9C9-42ED-AFF8-27D711BC2D38}"/>
          </ac:spMkLst>
        </pc:spChg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2748664132" sldId="263"/>
            <ac:spMk id="3" creationId="{82AA0193-4F87-4066-AFCF-BD50C69A27B4}"/>
          </ac:spMkLst>
        </pc:spChg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2748664132" sldId="263"/>
            <ac:spMk id="5" creationId="{4ED15BE5-4813-4332-B9FD-E18DE553437B}"/>
          </ac:spMkLst>
        </pc:spChg>
        <pc:picChg chg="add mod">
          <ac:chgData name="Marco Soares" userId="d0da0a5a-bb2d-4628-9140-122d0f91b28a" providerId="ADAL" clId="{9C716D8F-8829-42BC-924A-3E53FBB2B216}" dt="2022-08-22T14:10:28.727" v="129" actId="1076"/>
          <ac:picMkLst>
            <pc:docMk/>
            <pc:sldMk cId="2748664132" sldId="263"/>
            <ac:picMk id="7" creationId="{9DCD33F2-BC8C-4E19-B2ED-55C13BD5C8DA}"/>
          </ac:picMkLst>
        </pc:picChg>
        <pc:picChg chg="del">
          <ac:chgData name="Marco Soares" userId="d0da0a5a-bb2d-4628-9140-122d0f91b28a" providerId="ADAL" clId="{9C716D8F-8829-42BC-924A-3E53FBB2B216}" dt="2022-08-22T14:10:25.177" v="127" actId="478"/>
          <ac:picMkLst>
            <pc:docMk/>
            <pc:sldMk cId="2748664132" sldId="263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44:08.434" v="757" actId="1076"/>
        <pc:sldMkLst>
          <pc:docMk/>
          <pc:sldMk cId="915925481" sldId="264"/>
        </pc:sldMkLst>
        <pc:spChg chg="add del mod ord">
          <ac:chgData name="Marco Soares" userId="d0da0a5a-bb2d-4628-9140-122d0f91b28a" providerId="ADAL" clId="{9C716D8F-8829-42BC-924A-3E53FBB2B216}" dt="2022-08-22T14:40:21.892" v="709" actId="700"/>
          <ac:spMkLst>
            <pc:docMk/>
            <pc:sldMk cId="915925481" sldId="264"/>
            <ac:spMk id="2" creationId="{F25B2CAA-7D31-43FE-B8F5-EE7F064CEC0D}"/>
          </ac:spMkLst>
        </pc:spChg>
        <pc:spChg chg="add del mod ord">
          <ac:chgData name="Marco Soares" userId="d0da0a5a-bb2d-4628-9140-122d0f91b28a" providerId="ADAL" clId="{9C716D8F-8829-42BC-924A-3E53FBB2B216}" dt="2022-08-22T14:40:21.892" v="709" actId="700"/>
          <ac:spMkLst>
            <pc:docMk/>
            <pc:sldMk cId="915925481" sldId="264"/>
            <ac:spMk id="4" creationId="{6FCD2722-17B0-4A1F-888E-06CAF01321B0}"/>
          </ac:spMkLst>
        </pc:spChg>
        <pc:spChg chg="add del mod ord">
          <ac:chgData name="Marco Soares" userId="d0da0a5a-bb2d-4628-9140-122d0f91b28a" providerId="ADAL" clId="{9C716D8F-8829-42BC-924A-3E53FBB2B216}" dt="2022-08-22T14:40:21.892" v="709" actId="700"/>
          <ac:spMkLst>
            <pc:docMk/>
            <pc:sldMk cId="915925481" sldId="264"/>
            <ac:spMk id="5" creationId="{11B12936-87B0-4C82-9842-966738BDAC14}"/>
          </ac:spMkLst>
        </pc:spChg>
        <pc:spChg chg="add del mod ord">
          <ac:chgData name="Marco Soares" userId="d0da0a5a-bb2d-4628-9140-122d0f91b28a" providerId="ADAL" clId="{9C716D8F-8829-42BC-924A-3E53FBB2B216}" dt="2022-08-22T14:40:21.892" v="709" actId="700"/>
          <ac:spMkLst>
            <pc:docMk/>
            <pc:sldMk cId="915925481" sldId="264"/>
            <ac:spMk id="6" creationId="{3417A45F-9A3A-4D41-BB2D-7D6AE87D12B7}"/>
          </ac:spMkLst>
        </pc:spChg>
        <pc:spChg chg="del mod">
          <ac:chgData name="Marco Soares" userId="d0da0a5a-bb2d-4628-9140-122d0f91b28a" providerId="ADAL" clId="{9C716D8F-8829-42BC-924A-3E53FBB2B216}" dt="2022-08-22T14:42:02.869" v="740" actId="478"/>
          <ac:spMkLst>
            <pc:docMk/>
            <pc:sldMk cId="915925481" sldId="264"/>
            <ac:spMk id="7" creationId="{00000000-0000-0000-0000-000000000000}"/>
          </ac:spMkLst>
        </pc:spChg>
        <pc:spChg chg="add del">
          <ac:chgData name="Marco Soares" userId="d0da0a5a-bb2d-4628-9140-122d0f91b28a" providerId="ADAL" clId="{9C716D8F-8829-42BC-924A-3E53FBB2B216}" dt="2022-08-22T14:41:59.895" v="739" actId="478"/>
          <ac:spMkLst>
            <pc:docMk/>
            <pc:sldMk cId="915925481" sldId="264"/>
            <ac:spMk id="8" creationId="{40DB863F-6C2E-4FF2-9E66-29956CBF0BCA}"/>
          </ac:spMkLst>
        </pc:spChg>
        <pc:spChg chg="add del mod">
          <ac:chgData name="Marco Soares" userId="d0da0a5a-bb2d-4628-9140-122d0f91b28a" providerId="ADAL" clId="{9C716D8F-8829-42BC-924A-3E53FBB2B216}" dt="2022-08-22T14:41:57.237" v="738" actId="478"/>
          <ac:spMkLst>
            <pc:docMk/>
            <pc:sldMk cId="915925481" sldId="264"/>
            <ac:spMk id="10" creationId="{00000000-0000-0000-0000-000000000000}"/>
          </ac:spMkLst>
        </pc:spChg>
        <pc:spChg chg="add mod ord">
          <ac:chgData name="Marco Soares" userId="d0da0a5a-bb2d-4628-9140-122d0f91b28a" providerId="ADAL" clId="{9C716D8F-8829-42BC-924A-3E53FBB2B216}" dt="2022-08-22T14:41:54.493" v="737"/>
          <ac:spMkLst>
            <pc:docMk/>
            <pc:sldMk cId="915925481" sldId="264"/>
            <ac:spMk id="11" creationId="{D2F5E65A-2DBE-437D-96A6-B26307B0CD1B}"/>
          </ac:spMkLst>
        </pc:spChg>
        <pc:spChg chg="add mod ord">
          <ac:chgData name="Marco Soares" userId="d0da0a5a-bb2d-4628-9140-122d0f91b28a" providerId="ADAL" clId="{9C716D8F-8829-42BC-924A-3E53FBB2B216}" dt="2022-08-22T14:43:59.887" v="755"/>
          <ac:spMkLst>
            <pc:docMk/>
            <pc:sldMk cId="915925481" sldId="264"/>
            <ac:spMk id="12" creationId="{086795FA-B1B4-4160-B50C-EBB7904348BF}"/>
          </ac:spMkLst>
        </pc:spChg>
        <pc:spChg chg="add mod ord">
          <ac:chgData name="Marco Soares" userId="d0da0a5a-bb2d-4628-9140-122d0f91b28a" providerId="ADAL" clId="{9C716D8F-8829-42BC-924A-3E53FBB2B216}" dt="2022-08-22T14:44:08.434" v="757" actId="1076"/>
          <ac:spMkLst>
            <pc:docMk/>
            <pc:sldMk cId="915925481" sldId="264"/>
            <ac:spMk id="13" creationId="{FE9EB074-6A02-4004-BCA7-7E4634D629AA}"/>
          </ac:spMkLst>
        </pc:spChg>
        <pc:spChg chg="add del mod ord">
          <ac:chgData name="Marco Soares" userId="d0da0a5a-bb2d-4628-9140-122d0f91b28a" providerId="ADAL" clId="{9C716D8F-8829-42BC-924A-3E53FBB2B216}" dt="2022-08-22T14:40:35.480" v="710" actId="931"/>
          <ac:spMkLst>
            <pc:docMk/>
            <pc:sldMk cId="915925481" sldId="264"/>
            <ac:spMk id="14" creationId="{D8D87121-4F9F-439D-906F-D1450DCAB990}"/>
          </ac:spMkLst>
        </pc:spChg>
        <pc:picChg chg="add mod">
          <ac:chgData name="Marco Soares" userId="d0da0a5a-bb2d-4628-9140-122d0f91b28a" providerId="ADAL" clId="{9C716D8F-8829-42BC-924A-3E53FBB2B216}" dt="2022-08-22T14:11:08.993" v="145"/>
          <ac:picMkLst>
            <pc:docMk/>
            <pc:sldMk cId="915925481" sldId="264"/>
            <ac:picMk id="9" creationId="{31A605DE-F53D-4F8E-BAE0-FE4994D743BD}"/>
          </ac:picMkLst>
        </pc:picChg>
        <pc:picChg chg="del">
          <ac:chgData name="Marco Soares" userId="d0da0a5a-bb2d-4628-9140-122d0f91b28a" providerId="ADAL" clId="{9C716D8F-8829-42BC-924A-3E53FBB2B216}" dt="2022-08-22T14:11:08.283" v="144" actId="478"/>
          <ac:picMkLst>
            <pc:docMk/>
            <pc:sldMk cId="915925481" sldId="264"/>
            <ac:picMk id="13" creationId="{D419DF6B-5FE3-4D2F-BBA7-086DAB3F8BD2}"/>
          </ac:picMkLst>
        </pc:picChg>
        <pc:picChg chg="add mod">
          <ac:chgData name="Marco Soares" userId="d0da0a5a-bb2d-4628-9140-122d0f91b28a" providerId="ADAL" clId="{9C716D8F-8829-42BC-924A-3E53FBB2B216}" dt="2022-08-22T14:40:37.894" v="711" actId="27614"/>
          <ac:picMkLst>
            <pc:docMk/>
            <pc:sldMk cId="915925481" sldId="264"/>
            <ac:picMk id="16" creationId="{BE158DF7-CCB8-4B08-B56F-24D5497BA376}"/>
          </ac:picMkLst>
        </pc:picChg>
        <pc:picChg chg="del">
          <ac:chgData name="Marco Soares" userId="d0da0a5a-bb2d-4628-9140-122d0f91b28a" providerId="ADAL" clId="{9C716D8F-8829-42BC-924A-3E53FBB2B216}" dt="2022-08-22T14:15:08.975" v="150" actId="478"/>
          <ac:picMkLst>
            <pc:docMk/>
            <pc:sldMk cId="915925481" sldId="264"/>
            <ac:picMk id="1026" creationId="{00000000-0000-0000-0000-000000000000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0:30.119" v="376" actId="207"/>
        <pc:sldMkLst>
          <pc:docMk/>
          <pc:sldMk cId="357679138" sldId="274"/>
        </pc:sldMkLst>
        <pc:spChg chg="add mod ord">
          <ac:chgData name="Marco Soares" userId="d0da0a5a-bb2d-4628-9140-122d0f91b28a" providerId="ADAL" clId="{9C716D8F-8829-42BC-924A-3E53FBB2B216}" dt="2022-08-22T14:30:30.119" v="376" actId="207"/>
          <ac:spMkLst>
            <pc:docMk/>
            <pc:sldMk cId="357679138" sldId="274"/>
            <ac:spMk id="2" creationId="{42C25B5E-F9B4-448C-8EAF-BD8E641154E8}"/>
          </ac:spMkLst>
        </pc:spChg>
        <pc:spChg chg="add mod ord">
          <ac:chgData name="Marco Soares" userId="d0da0a5a-bb2d-4628-9140-122d0f91b28a" providerId="ADAL" clId="{9C716D8F-8829-42BC-924A-3E53FBB2B216}" dt="2022-08-22T14:30:30.119" v="376" actId="207"/>
          <ac:spMkLst>
            <pc:docMk/>
            <pc:sldMk cId="357679138" sldId="274"/>
            <ac:spMk id="3" creationId="{8500445B-5315-4187-BD7B-3ED752A7B94F}"/>
          </ac:spMkLst>
        </pc:spChg>
        <pc:spChg chg="mod">
          <ac:chgData name="Marco Soares" userId="d0da0a5a-bb2d-4628-9140-122d0f91b28a" providerId="ADAL" clId="{9C716D8F-8829-42BC-924A-3E53FBB2B216}" dt="2022-08-22T14:30:30.119" v="376" actId="207"/>
          <ac:spMkLst>
            <pc:docMk/>
            <pc:sldMk cId="357679138" sldId="274"/>
            <ac:spMk id="4" creationId="{00000000-0000-0000-0000-000000000000}"/>
          </ac:spMkLst>
        </pc:spChg>
        <pc:spChg chg="add mod ord">
          <ac:chgData name="Marco Soares" userId="d0da0a5a-bb2d-4628-9140-122d0f91b28a" providerId="ADAL" clId="{9C716D8F-8829-42BC-924A-3E53FBB2B216}" dt="2022-08-22T14:30:30.119" v="376" actId="207"/>
          <ac:spMkLst>
            <pc:docMk/>
            <pc:sldMk cId="357679138" sldId="274"/>
            <ac:spMk id="5" creationId="{33917629-543A-491E-8314-9F0055CC941F}"/>
          </ac:spMkLst>
        </pc:spChg>
        <pc:spChg chg="mod">
          <ac:chgData name="Marco Soares" userId="d0da0a5a-bb2d-4628-9140-122d0f91b28a" providerId="ADAL" clId="{9C716D8F-8829-42BC-924A-3E53FBB2B216}" dt="2022-08-22T14:30:30.119" v="376" actId="207"/>
          <ac:spMkLst>
            <pc:docMk/>
            <pc:sldMk cId="357679138" sldId="274"/>
            <ac:spMk id="6" creationId="{586B2C00-5802-4710-BA94-2A4BF62B49C3}"/>
          </ac:spMkLst>
        </pc:spChg>
        <pc:spChg chg="mod">
          <ac:chgData name="Marco Soares" userId="d0da0a5a-bb2d-4628-9140-122d0f91b28a" providerId="ADAL" clId="{9C716D8F-8829-42BC-924A-3E53FBB2B216}" dt="2022-08-22T14:30:30.119" v="376" actId="207"/>
          <ac:spMkLst>
            <pc:docMk/>
            <pc:sldMk cId="357679138" sldId="274"/>
            <ac:spMk id="12" creationId="{72CB4501-AE8E-46C9-9430-6CB2F1F5B04E}"/>
          </ac:spMkLst>
        </pc:spChg>
        <pc:spChg chg="mod">
          <ac:chgData name="Marco Soares" userId="d0da0a5a-bb2d-4628-9140-122d0f91b28a" providerId="ADAL" clId="{9C716D8F-8829-42BC-924A-3E53FBB2B216}" dt="2022-08-22T14:30:30.119" v="376" actId="207"/>
          <ac:spMkLst>
            <pc:docMk/>
            <pc:sldMk cId="357679138" sldId="274"/>
            <ac:spMk id="15" creationId="{2B2D0617-12B0-C565-768E-53D25C6FFF0D}"/>
          </ac:spMkLst>
        </pc:spChg>
        <pc:picChg chg="mod">
          <ac:chgData name="Marco Soares" userId="d0da0a5a-bb2d-4628-9140-122d0f91b28a" providerId="ADAL" clId="{9C716D8F-8829-42BC-924A-3E53FBB2B216}" dt="2022-08-22T14:30:30.119" v="376" actId="207"/>
          <ac:picMkLst>
            <pc:docMk/>
            <pc:sldMk cId="357679138" sldId="274"/>
            <ac:picMk id="7" creationId="{50D890C3-001C-86A7-E01F-B6AB7AD2BF7D}"/>
          </ac:picMkLst>
        </pc:picChg>
        <pc:picChg chg="mod">
          <ac:chgData name="Marco Soares" userId="d0da0a5a-bb2d-4628-9140-122d0f91b28a" providerId="ADAL" clId="{9C716D8F-8829-42BC-924A-3E53FBB2B216}" dt="2022-08-22T14:30:30.119" v="376" actId="207"/>
          <ac:picMkLst>
            <pc:docMk/>
            <pc:sldMk cId="357679138" sldId="274"/>
            <ac:picMk id="9" creationId="{F6DB3483-30E7-D445-0CDE-5C16D6D437ED}"/>
          </ac:picMkLst>
        </pc:picChg>
        <pc:picChg chg="add del mod">
          <ac:chgData name="Marco Soares" userId="d0da0a5a-bb2d-4628-9140-122d0f91b28a" providerId="ADAL" clId="{9C716D8F-8829-42BC-924A-3E53FBB2B216}" dt="2022-08-22T14:28:33.739" v="350" actId="478"/>
          <ac:picMkLst>
            <pc:docMk/>
            <pc:sldMk cId="357679138" sldId="274"/>
            <ac:picMk id="10" creationId="{267F1DA3-52F4-4878-B40F-B864166676AA}"/>
          </ac:picMkLst>
        </pc:picChg>
        <pc:picChg chg="mod">
          <ac:chgData name="Marco Soares" userId="d0da0a5a-bb2d-4628-9140-122d0f91b28a" providerId="ADAL" clId="{9C716D8F-8829-42BC-924A-3E53FBB2B216}" dt="2022-08-22T14:30:30.119" v="376" actId="207"/>
          <ac:picMkLst>
            <pc:docMk/>
            <pc:sldMk cId="357679138" sldId="274"/>
            <ac:picMk id="13" creationId="{82DC6677-6FB9-19E1-D38C-B36B5CF2D6C8}"/>
          </ac:picMkLst>
        </pc:picChg>
        <pc:picChg chg="del">
          <ac:chgData name="Marco Soares" userId="d0da0a5a-bb2d-4628-9140-122d0f91b28a" providerId="ADAL" clId="{9C716D8F-8829-42BC-924A-3E53FBB2B216}" dt="2022-08-22T14:03:23.320" v="28" actId="478"/>
          <ac:picMkLst>
            <pc:docMk/>
            <pc:sldMk cId="357679138" sldId="274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2:04.721" v="394" actId="700"/>
        <pc:sldMkLst>
          <pc:docMk/>
          <pc:sldMk cId="3399383844" sldId="275"/>
        </pc:sldMkLst>
        <pc:spChg chg="add del mod ord">
          <ac:chgData name="Marco Soares" userId="d0da0a5a-bb2d-4628-9140-122d0f91b28a" providerId="ADAL" clId="{9C716D8F-8829-42BC-924A-3E53FBB2B216}" dt="2022-08-22T14:29:25.784" v="362" actId="700"/>
          <ac:spMkLst>
            <pc:docMk/>
            <pc:sldMk cId="3399383844" sldId="275"/>
            <ac:spMk id="2" creationId="{57527E39-ADB4-4D57-A4C9-6A2633C4A208}"/>
          </ac:spMkLst>
        </pc:spChg>
        <pc:spChg chg="add del mod ord">
          <ac:chgData name="Marco Soares" userId="d0da0a5a-bb2d-4628-9140-122d0f91b28a" providerId="ADAL" clId="{9C716D8F-8829-42BC-924A-3E53FBB2B216}" dt="2022-08-22T14:29:25.784" v="362" actId="700"/>
          <ac:spMkLst>
            <pc:docMk/>
            <pc:sldMk cId="3399383844" sldId="275"/>
            <ac:spMk id="3" creationId="{83F4A668-2046-41DF-8C85-5AFA1C059BF3}"/>
          </ac:spMkLst>
        </pc:spChg>
        <pc:spChg chg="mod">
          <ac:chgData name="Marco Soares" userId="d0da0a5a-bb2d-4628-9140-122d0f91b28a" providerId="ADAL" clId="{9C716D8F-8829-42BC-924A-3E53FBB2B216}" dt="2022-08-22T14:31:07.264" v="383" actId="207"/>
          <ac:spMkLst>
            <pc:docMk/>
            <pc:sldMk cId="3399383844" sldId="275"/>
            <ac:spMk id="4" creationId="{00000000-0000-0000-0000-000000000000}"/>
          </ac:spMkLst>
        </pc:spChg>
        <pc:spChg chg="add del mod ord">
          <ac:chgData name="Marco Soares" userId="d0da0a5a-bb2d-4628-9140-122d0f91b28a" providerId="ADAL" clId="{9C716D8F-8829-42BC-924A-3E53FBB2B216}" dt="2022-08-22T14:29:25.784" v="362" actId="700"/>
          <ac:spMkLst>
            <pc:docMk/>
            <pc:sldMk cId="3399383844" sldId="275"/>
            <ac:spMk id="5" creationId="{423274BE-56AB-43C9-B12F-00606596E980}"/>
          </ac:spMkLst>
        </pc:spChg>
        <pc:spChg chg="mod">
          <ac:chgData name="Marco Soares" userId="d0da0a5a-bb2d-4628-9140-122d0f91b28a" providerId="ADAL" clId="{9C716D8F-8829-42BC-924A-3E53FBB2B216}" dt="2022-08-22T14:31:07.264" v="383" actId="207"/>
          <ac:spMkLst>
            <pc:docMk/>
            <pc:sldMk cId="3399383844" sldId="275"/>
            <ac:spMk id="6" creationId="{586B2C00-5802-4710-BA94-2A4BF62B49C3}"/>
          </ac:spMkLst>
        </pc:spChg>
        <pc:spChg chg="add del mod ord">
          <ac:chgData name="Marco Soares" userId="d0da0a5a-bb2d-4628-9140-122d0f91b28a" providerId="ADAL" clId="{9C716D8F-8829-42BC-924A-3E53FBB2B216}" dt="2022-08-22T14:31:56.732" v="392" actId="700"/>
          <ac:spMkLst>
            <pc:docMk/>
            <pc:sldMk cId="3399383844" sldId="275"/>
            <ac:spMk id="8" creationId="{67251E8E-CAE8-48EC-9B16-AB489D0B8AA3}"/>
          </ac:spMkLst>
        </pc:spChg>
        <pc:spChg chg="add del mod ord">
          <ac:chgData name="Marco Soares" userId="d0da0a5a-bb2d-4628-9140-122d0f91b28a" providerId="ADAL" clId="{9C716D8F-8829-42BC-924A-3E53FBB2B216}" dt="2022-08-22T14:31:56.732" v="392" actId="700"/>
          <ac:spMkLst>
            <pc:docMk/>
            <pc:sldMk cId="3399383844" sldId="275"/>
            <ac:spMk id="9" creationId="{6A30B8A3-48E4-4BF4-849A-98D035252809}"/>
          </ac:spMkLst>
        </pc:spChg>
        <pc:spChg chg="mod">
          <ac:chgData name="Marco Soares" userId="d0da0a5a-bb2d-4628-9140-122d0f91b28a" providerId="ADAL" clId="{9C716D8F-8829-42BC-924A-3E53FBB2B216}" dt="2022-08-22T14:31:07.264" v="383" actId="207"/>
          <ac:spMkLst>
            <pc:docMk/>
            <pc:sldMk cId="3399383844" sldId="275"/>
            <ac:spMk id="10" creationId="{76F27EDA-E315-7F1C-7656-B52FE587C636}"/>
          </ac:spMkLst>
        </pc:spChg>
        <pc:spChg chg="add del mod ord">
          <ac:chgData name="Marco Soares" userId="d0da0a5a-bb2d-4628-9140-122d0f91b28a" providerId="ADAL" clId="{9C716D8F-8829-42BC-924A-3E53FBB2B216}" dt="2022-08-22T14:31:56.732" v="392" actId="700"/>
          <ac:spMkLst>
            <pc:docMk/>
            <pc:sldMk cId="3399383844" sldId="275"/>
            <ac:spMk id="11" creationId="{35FEAAFB-541F-4D2B-A9A5-2A4F931EF3C3}"/>
          </ac:spMkLst>
        </pc:spChg>
        <pc:spChg chg="mod">
          <ac:chgData name="Marco Soares" userId="d0da0a5a-bb2d-4628-9140-122d0f91b28a" providerId="ADAL" clId="{9C716D8F-8829-42BC-924A-3E53FBB2B216}" dt="2022-08-22T14:31:07.264" v="383" actId="207"/>
          <ac:spMkLst>
            <pc:docMk/>
            <pc:sldMk cId="3399383844" sldId="275"/>
            <ac:spMk id="12" creationId="{72CB4501-AE8E-46C9-9430-6CB2F1F5B04E}"/>
          </ac:spMkLst>
        </pc:spChg>
        <pc:spChg chg="add mod ord">
          <ac:chgData name="Marco Soares" userId="d0da0a5a-bb2d-4628-9140-122d0f91b28a" providerId="ADAL" clId="{9C716D8F-8829-42BC-924A-3E53FBB2B216}" dt="2022-08-22T14:32:04.721" v="394" actId="700"/>
          <ac:spMkLst>
            <pc:docMk/>
            <pc:sldMk cId="3399383844" sldId="275"/>
            <ac:spMk id="13" creationId="{4C09CEDA-D22F-4BCE-9D40-097806403A28}"/>
          </ac:spMkLst>
        </pc:spChg>
        <pc:spChg chg="add mod ord">
          <ac:chgData name="Marco Soares" userId="d0da0a5a-bb2d-4628-9140-122d0f91b28a" providerId="ADAL" clId="{9C716D8F-8829-42BC-924A-3E53FBB2B216}" dt="2022-08-22T14:32:04.721" v="394" actId="700"/>
          <ac:spMkLst>
            <pc:docMk/>
            <pc:sldMk cId="3399383844" sldId="275"/>
            <ac:spMk id="14" creationId="{AFF5A7AF-A0CE-47ED-A90B-2DFB39EAD823}"/>
          </ac:spMkLst>
        </pc:spChg>
        <pc:spChg chg="add mod ord">
          <ac:chgData name="Marco Soares" userId="d0da0a5a-bb2d-4628-9140-122d0f91b28a" providerId="ADAL" clId="{9C716D8F-8829-42BC-924A-3E53FBB2B216}" dt="2022-08-22T14:32:04.721" v="394" actId="700"/>
          <ac:spMkLst>
            <pc:docMk/>
            <pc:sldMk cId="3399383844" sldId="275"/>
            <ac:spMk id="15" creationId="{43B7E333-B634-44B2-945C-3A0EB8E26FEC}"/>
          </ac:spMkLst>
        </pc:spChg>
        <pc:picChg chg="add del mod">
          <ac:chgData name="Marco Soares" userId="d0da0a5a-bb2d-4628-9140-122d0f91b28a" providerId="ADAL" clId="{9C716D8F-8829-42BC-924A-3E53FBB2B216}" dt="2022-08-22T14:28:47.564" v="352" actId="478"/>
          <ac:picMkLst>
            <pc:docMk/>
            <pc:sldMk cId="3399383844" sldId="275"/>
            <ac:picMk id="7" creationId="{11526688-8C81-4BC5-ABB4-98ED42F81918}"/>
          </ac:picMkLst>
        </pc:picChg>
        <pc:picChg chg="del">
          <ac:chgData name="Marco Soares" userId="d0da0a5a-bb2d-4628-9140-122d0f91b28a" providerId="ADAL" clId="{9C716D8F-8829-42BC-924A-3E53FBB2B216}" dt="2022-08-22T14:03:30.851" v="31" actId="478"/>
          <ac:picMkLst>
            <pc:docMk/>
            <pc:sldMk cId="3399383844" sldId="275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2:48.671" v="428" actId="700"/>
        <pc:sldMkLst>
          <pc:docMk/>
          <pc:sldMk cId="2950043444" sldId="276"/>
        </pc:sldMkLst>
        <pc:spChg chg="add del mod ord">
          <ac:chgData name="Marco Soares" userId="d0da0a5a-bb2d-4628-9140-122d0f91b28a" providerId="ADAL" clId="{9C716D8F-8829-42BC-924A-3E53FBB2B216}" dt="2022-08-22T14:29:19.835" v="360" actId="700"/>
          <ac:spMkLst>
            <pc:docMk/>
            <pc:sldMk cId="2950043444" sldId="276"/>
            <ac:spMk id="2" creationId="{0829B6B1-48CD-4765-8A02-0A0D89F84297}"/>
          </ac:spMkLst>
        </pc:spChg>
        <pc:spChg chg="add del mod ord">
          <ac:chgData name="Marco Soares" userId="d0da0a5a-bb2d-4628-9140-122d0f91b28a" providerId="ADAL" clId="{9C716D8F-8829-42BC-924A-3E53FBB2B216}" dt="2022-08-22T14:29:19.835" v="360" actId="700"/>
          <ac:spMkLst>
            <pc:docMk/>
            <pc:sldMk cId="2950043444" sldId="276"/>
            <ac:spMk id="3" creationId="{37B455E6-F8A4-42C1-BB57-FF1454B21D7D}"/>
          </ac:spMkLst>
        </pc:spChg>
        <pc:spChg chg="mod">
          <ac:chgData name="Marco Soares" userId="d0da0a5a-bb2d-4628-9140-122d0f91b28a" providerId="ADAL" clId="{9C716D8F-8829-42BC-924A-3E53FBB2B216}" dt="2022-08-22T14:31:27.709" v="385" actId="207"/>
          <ac:spMkLst>
            <pc:docMk/>
            <pc:sldMk cId="2950043444" sldId="276"/>
            <ac:spMk id="4" creationId="{00000000-0000-0000-0000-000000000000}"/>
          </ac:spMkLst>
        </pc:spChg>
        <pc:spChg chg="add del mod ord">
          <ac:chgData name="Marco Soares" userId="d0da0a5a-bb2d-4628-9140-122d0f91b28a" providerId="ADAL" clId="{9C716D8F-8829-42BC-924A-3E53FBB2B216}" dt="2022-08-22T14:29:19.835" v="360" actId="700"/>
          <ac:spMkLst>
            <pc:docMk/>
            <pc:sldMk cId="2950043444" sldId="276"/>
            <ac:spMk id="5" creationId="{E03A50AC-A9FB-4A64-BC9E-DA735F0A00AA}"/>
          </ac:spMkLst>
        </pc:spChg>
        <pc:spChg chg="mod">
          <ac:chgData name="Marco Soares" userId="d0da0a5a-bb2d-4628-9140-122d0f91b28a" providerId="ADAL" clId="{9C716D8F-8829-42BC-924A-3E53FBB2B216}" dt="2022-08-22T14:31:27.709" v="385" actId="207"/>
          <ac:spMkLst>
            <pc:docMk/>
            <pc:sldMk cId="2950043444" sldId="276"/>
            <ac:spMk id="6" creationId="{586B2C00-5802-4710-BA94-2A4BF62B49C3}"/>
          </ac:spMkLst>
        </pc:spChg>
        <pc:spChg chg="add del mod ord">
          <ac:chgData name="Marco Soares" userId="d0da0a5a-bb2d-4628-9140-122d0f91b28a" providerId="ADAL" clId="{9C716D8F-8829-42BC-924A-3E53FBB2B216}" dt="2022-08-22T14:31:55.678" v="391" actId="700"/>
          <ac:spMkLst>
            <pc:docMk/>
            <pc:sldMk cId="2950043444" sldId="276"/>
            <ac:spMk id="8" creationId="{A6CD3026-DA26-4D2A-AC0E-38704358356F}"/>
          </ac:spMkLst>
        </pc:spChg>
        <pc:spChg chg="add del mod ord">
          <ac:chgData name="Marco Soares" userId="d0da0a5a-bb2d-4628-9140-122d0f91b28a" providerId="ADAL" clId="{9C716D8F-8829-42BC-924A-3E53FBB2B216}" dt="2022-08-22T14:31:55.678" v="391" actId="700"/>
          <ac:spMkLst>
            <pc:docMk/>
            <pc:sldMk cId="2950043444" sldId="276"/>
            <ac:spMk id="9" creationId="{A78E7E1C-4EDD-40E5-AF3B-F463E461F986}"/>
          </ac:spMkLst>
        </pc:spChg>
        <pc:spChg chg="add del mod ord">
          <ac:chgData name="Marco Soares" userId="d0da0a5a-bb2d-4628-9140-122d0f91b28a" providerId="ADAL" clId="{9C716D8F-8829-42BC-924A-3E53FBB2B216}" dt="2022-08-22T14:31:55.678" v="391" actId="700"/>
          <ac:spMkLst>
            <pc:docMk/>
            <pc:sldMk cId="2950043444" sldId="276"/>
            <ac:spMk id="10" creationId="{2AFC5CBA-B1B5-4898-93F8-3B539520FA65}"/>
          </ac:spMkLst>
        </pc:spChg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2950043444" sldId="276"/>
            <ac:spMk id="11" creationId="{4C2B85AC-0F31-4E4F-8BC5-3C9A9BC89B7A}"/>
          </ac:spMkLst>
        </pc:spChg>
        <pc:spChg chg="mod">
          <ac:chgData name="Marco Soares" userId="d0da0a5a-bb2d-4628-9140-122d0f91b28a" providerId="ADAL" clId="{9C716D8F-8829-42BC-924A-3E53FBB2B216}" dt="2022-08-22T14:31:27.709" v="385" actId="207"/>
          <ac:spMkLst>
            <pc:docMk/>
            <pc:sldMk cId="2950043444" sldId="276"/>
            <ac:spMk id="12" creationId="{72CB4501-AE8E-46C9-9430-6CB2F1F5B04E}"/>
          </ac:spMkLst>
        </pc:spChg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2950043444" sldId="276"/>
            <ac:spMk id="13" creationId="{440054C3-3B8D-455B-9AA4-B1D2337D375F}"/>
          </ac:spMkLst>
        </pc:spChg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2950043444" sldId="276"/>
            <ac:spMk id="14" creationId="{62C43330-D177-4144-B79D-F360C640A444}"/>
          </ac:spMkLst>
        </pc:spChg>
        <pc:picChg chg="add del mod">
          <ac:chgData name="Marco Soares" userId="d0da0a5a-bb2d-4628-9140-122d0f91b28a" providerId="ADAL" clId="{9C716D8F-8829-42BC-924A-3E53FBB2B216}" dt="2022-08-22T14:31:55.247" v="390" actId="478"/>
          <ac:picMkLst>
            <pc:docMk/>
            <pc:sldMk cId="2950043444" sldId="276"/>
            <ac:picMk id="7" creationId="{9B11FAC2-2C67-46E2-8411-A7BA1AEA0513}"/>
          </ac:picMkLst>
        </pc:picChg>
        <pc:picChg chg="del">
          <ac:chgData name="Marco Soares" userId="d0da0a5a-bb2d-4628-9140-122d0f91b28a" providerId="ADAL" clId="{9C716D8F-8829-42BC-924A-3E53FBB2B216}" dt="2022-08-22T14:03:37.144" v="34" actId="478"/>
          <ac:picMkLst>
            <pc:docMk/>
            <pc:sldMk cId="2950043444" sldId="276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2:48.671" v="428" actId="700"/>
        <pc:sldMkLst>
          <pc:docMk/>
          <pc:sldMk cId="2223004198" sldId="277"/>
        </pc:sldMkLst>
        <pc:spChg chg="add del mod ord">
          <ac:chgData name="Marco Soares" userId="d0da0a5a-bb2d-4628-9140-122d0f91b28a" providerId="ADAL" clId="{9C716D8F-8829-42BC-924A-3E53FBB2B216}" dt="2022-08-22T14:29:13.766" v="358" actId="700"/>
          <ac:spMkLst>
            <pc:docMk/>
            <pc:sldMk cId="2223004198" sldId="277"/>
            <ac:spMk id="2" creationId="{CC2ECB3A-1CA1-4B3F-8B06-F4D1BE6AE0F0}"/>
          </ac:spMkLst>
        </pc:spChg>
        <pc:spChg chg="add del mod ord">
          <ac:chgData name="Marco Soares" userId="d0da0a5a-bb2d-4628-9140-122d0f91b28a" providerId="ADAL" clId="{9C716D8F-8829-42BC-924A-3E53FBB2B216}" dt="2022-08-22T14:29:13.766" v="358" actId="700"/>
          <ac:spMkLst>
            <pc:docMk/>
            <pc:sldMk cId="2223004198" sldId="277"/>
            <ac:spMk id="3" creationId="{85DBE2DF-D921-4CC2-B7F5-BD4C4454FBBB}"/>
          </ac:spMkLst>
        </pc:spChg>
        <pc:spChg chg="add del mod ord">
          <ac:chgData name="Marco Soares" userId="d0da0a5a-bb2d-4628-9140-122d0f91b28a" providerId="ADAL" clId="{9C716D8F-8829-42BC-924A-3E53FBB2B216}" dt="2022-08-22T14:29:13.766" v="358" actId="700"/>
          <ac:spMkLst>
            <pc:docMk/>
            <pc:sldMk cId="2223004198" sldId="277"/>
            <ac:spMk id="5" creationId="{EA472F83-B442-4676-A4B7-AACC333044C9}"/>
          </ac:spMkLst>
        </pc:spChg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2223004198" sldId="277"/>
            <ac:spMk id="8" creationId="{917B4BDB-378B-4DF5-B177-9B49CB46C255}"/>
          </ac:spMkLst>
        </pc:spChg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2223004198" sldId="277"/>
            <ac:spMk id="9" creationId="{6B3F2B00-C98D-4F8D-8F9A-78089EE8DA14}"/>
          </ac:spMkLst>
        </pc:spChg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2223004198" sldId="277"/>
            <ac:spMk id="11" creationId="{196DB92A-7F92-4781-8392-416BB866624A}"/>
          </ac:spMkLst>
        </pc:spChg>
        <pc:picChg chg="add del mod">
          <ac:chgData name="Marco Soares" userId="d0da0a5a-bb2d-4628-9140-122d0f91b28a" providerId="ADAL" clId="{9C716D8F-8829-42BC-924A-3E53FBB2B216}" dt="2022-08-22T14:31:54.324" v="389" actId="478"/>
          <ac:picMkLst>
            <pc:docMk/>
            <pc:sldMk cId="2223004198" sldId="277"/>
            <ac:picMk id="7" creationId="{4C477192-1362-4F6D-B8EA-ADE12902E0FA}"/>
          </ac:picMkLst>
        </pc:picChg>
        <pc:picChg chg="del">
          <ac:chgData name="Marco Soares" userId="d0da0a5a-bb2d-4628-9140-122d0f91b28a" providerId="ADAL" clId="{9C716D8F-8829-42BC-924A-3E53FBB2B216}" dt="2022-08-22T14:03:42.714" v="37" actId="478"/>
          <ac:picMkLst>
            <pc:docMk/>
            <pc:sldMk cId="2223004198" sldId="277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2:48.671" v="428" actId="700"/>
        <pc:sldMkLst>
          <pc:docMk/>
          <pc:sldMk cId="2420291069" sldId="278"/>
        </pc:sldMkLst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2420291069" sldId="278"/>
            <ac:spMk id="2" creationId="{EF96847C-E780-495D-9F26-4B1E98E7A6D4}"/>
          </ac:spMkLst>
        </pc:spChg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2420291069" sldId="278"/>
            <ac:spMk id="3" creationId="{68FB8626-27D0-4F20-8202-03C49DE0F749}"/>
          </ac:spMkLst>
        </pc:spChg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2420291069" sldId="278"/>
            <ac:spMk id="5" creationId="{65BC6257-CB4E-472F-9056-36BCEF47482F}"/>
          </ac:spMkLst>
        </pc:spChg>
        <pc:picChg chg="add mod">
          <ac:chgData name="Marco Soares" userId="d0da0a5a-bb2d-4628-9140-122d0f91b28a" providerId="ADAL" clId="{9C716D8F-8829-42BC-924A-3E53FBB2B216}" dt="2022-08-22T14:05:19.049" v="42" actId="1076"/>
          <ac:picMkLst>
            <pc:docMk/>
            <pc:sldMk cId="2420291069" sldId="278"/>
            <ac:picMk id="8" creationId="{719D98CA-6021-4D6C-9143-2C954A219691}"/>
          </ac:picMkLst>
        </pc:picChg>
        <pc:picChg chg="del">
          <ac:chgData name="Marco Soares" userId="d0da0a5a-bb2d-4628-9140-122d0f91b28a" providerId="ADAL" clId="{9C716D8F-8829-42BC-924A-3E53FBB2B216}" dt="2022-08-22T14:05:16.699" v="40" actId="478"/>
          <ac:picMkLst>
            <pc:docMk/>
            <pc:sldMk cId="2420291069" sldId="278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2:48.671" v="428" actId="700"/>
        <pc:sldMkLst>
          <pc:docMk/>
          <pc:sldMk cId="3417334172" sldId="279"/>
        </pc:sldMkLst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3417334172" sldId="279"/>
            <ac:spMk id="2" creationId="{6E8FCD1B-7673-44F6-8A97-A7BFD3B4547C}"/>
          </ac:spMkLst>
        </pc:spChg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3417334172" sldId="279"/>
            <ac:spMk id="5" creationId="{B058BF74-F792-4758-94BD-FC4F91F3B23E}"/>
          </ac:spMkLst>
        </pc:spChg>
        <pc:spChg chg="add mod ord">
          <ac:chgData name="Marco Soares" userId="d0da0a5a-bb2d-4628-9140-122d0f91b28a" providerId="ADAL" clId="{9C716D8F-8829-42BC-924A-3E53FBB2B216}" dt="2022-08-22T14:32:48.671" v="428" actId="700"/>
          <ac:spMkLst>
            <pc:docMk/>
            <pc:sldMk cId="3417334172" sldId="279"/>
            <ac:spMk id="7" creationId="{ED7BEB04-B4E8-4399-B228-5382CF526135}"/>
          </ac:spMkLst>
        </pc:spChg>
        <pc:picChg chg="add mod">
          <ac:chgData name="Marco Soares" userId="d0da0a5a-bb2d-4628-9140-122d0f91b28a" providerId="ADAL" clId="{9C716D8F-8829-42BC-924A-3E53FBB2B216}" dt="2022-08-22T14:05:25.919" v="45" actId="1076"/>
          <ac:picMkLst>
            <pc:docMk/>
            <pc:sldMk cId="3417334172" sldId="279"/>
            <ac:picMk id="16" creationId="{C962C4AA-2B40-4EAA-8E52-80AB1A6B47F0}"/>
          </ac:picMkLst>
        </pc:picChg>
        <pc:picChg chg="del">
          <ac:chgData name="Marco Soares" userId="d0da0a5a-bb2d-4628-9140-122d0f91b28a" providerId="ADAL" clId="{9C716D8F-8829-42BC-924A-3E53FBB2B216}" dt="2022-08-22T14:05:22.454" v="43" actId="478"/>
          <ac:picMkLst>
            <pc:docMk/>
            <pc:sldMk cId="3417334172" sldId="279"/>
            <ac:picMk id="17" creationId="{191AA2AA-3A42-491E-B107-E8A92A9643B5}"/>
          </ac:picMkLst>
        </pc:picChg>
      </pc:sldChg>
      <pc:sldChg chg="addSp delSp modSp mod ord modClrScheme chgLayout">
        <pc:chgData name="Marco Soares" userId="d0da0a5a-bb2d-4628-9140-122d0f91b28a" providerId="ADAL" clId="{9C716D8F-8829-42BC-924A-3E53FBB2B216}" dt="2022-08-22T14:33:04.921" v="431" actId="700"/>
        <pc:sldMkLst>
          <pc:docMk/>
          <pc:sldMk cId="984874926" sldId="280"/>
        </pc:sldMkLst>
        <pc:spChg chg="add mod ord">
          <ac:chgData name="Marco Soares" userId="d0da0a5a-bb2d-4628-9140-122d0f91b28a" providerId="ADAL" clId="{9C716D8F-8829-42BC-924A-3E53FBB2B216}" dt="2022-08-22T14:33:04.921" v="431" actId="700"/>
          <ac:spMkLst>
            <pc:docMk/>
            <pc:sldMk cId="984874926" sldId="280"/>
            <ac:spMk id="2" creationId="{267448C4-4D58-4D91-B24D-0F50AB698C3A}"/>
          </ac:spMkLst>
        </pc:spChg>
        <pc:spChg chg="add mod ord">
          <ac:chgData name="Marco Soares" userId="d0da0a5a-bb2d-4628-9140-122d0f91b28a" providerId="ADAL" clId="{9C716D8F-8829-42BC-924A-3E53FBB2B216}" dt="2022-08-22T14:33:04.921" v="431" actId="700"/>
          <ac:spMkLst>
            <pc:docMk/>
            <pc:sldMk cId="984874926" sldId="280"/>
            <ac:spMk id="5" creationId="{01CDB856-033A-40FC-ADA1-7064E2D2E582}"/>
          </ac:spMkLst>
        </pc:spChg>
        <pc:spChg chg="add mod ord">
          <ac:chgData name="Marco Soares" userId="d0da0a5a-bb2d-4628-9140-122d0f91b28a" providerId="ADAL" clId="{9C716D8F-8829-42BC-924A-3E53FBB2B216}" dt="2022-08-22T14:33:04.921" v="431" actId="700"/>
          <ac:spMkLst>
            <pc:docMk/>
            <pc:sldMk cId="984874926" sldId="280"/>
            <ac:spMk id="7" creationId="{BD97D272-BD1F-4674-9C5D-25DF9F3CE933}"/>
          </ac:spMkLst>
        </pc:spChg>
        <pc:picChg chg="add mod">
          <ac:chgData name="Marco Soares" userId="d0da0a5a-bb2d-4628-9140-122d0f91b28a" providerId="ADAL" clId="{9C716D8F-8829-42BC-924A-3E53FBB2B216}" dt="2022-08-22T14:05:33.336" v="48" actId="1076"/>
          <ac:picMkLst>
            <pc:docMk/>
            <pc:sldMk cId="984874926" sldId="280"/>
            <ac:picMk id="8" creationId="{2B918418-1C48-49A1-B3CE-7C60DC7E5337}"/>
          </ac:picMkLst>
        </pc:picChg>
        <pc:picChg chg="del">
          <ac:chgData name="Marco Soares" userId="d0da0a5a-bb2d-4628-9140-122d0f91b28a" providerId="ADAL" clId="{9C716D8F-8829-42BC-924A-3E53FBB2B216}" dt="2022-08-22T14:05:29.713" v="46" actId="478"/>
          <ac:picMkLst>
            <pc:docMk/>
            <pc:sldMk cId="984874926" sldId="280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4:47.498" v="527" actId="700"/>
        <pc:sldMkLst>
          <pc:docMk/>
          <pc:sldMk cId="3822597553" sldId="281"/>
        </pc:sldMkLst>
        <pc:spChg chg="add del mod ord">
          <ac:chgData name="Marco Soares" userId="d0da0a5a-bb2d-4628-9140-122d0f91b28a" providerId="ADAL" clId="{9C716D8F-8829-42BC-924A-3E53FBB2B216}" dt="2022-08-22T14:34:43.193" v="526" actId="700"/>
          <ac:spMkLst>
            <pc:docMk/>
            <pc:sldMk cId="3822597553" sldId="281"/>
            <ac:spMk id="2" creationId="{A134335F-62F1-4608-9F90-3656D9E70D40}"/>
          </ac:spMkLst>
        </pc:spChg>
        <pc:spChg chg="add del mod ord">
          <ac:chgData name="Marco Soares" userId="d0da0a5a-bb2d-4628-9140-122d0f91b28a" providerId="ADAL" clId="{9C716D8F-8829-42BC-924A-3E53FBB2B216}" dt="2022-08-22T14:34:43.193" v="526" actId="700"/>
          <ac:spMkLst>
            <pc:docMk/>
            <pc:sldMk cId="3822597553" sldId="281"/>
            <ac:spMk id="3" creationId="{E3D63794-6407-4E87-8204-73296A3EF178}"/>
          </ac:spMkLst>
        </pc:spChg>
        <pc:spChg chg="add mod ord">
          <ac:chgData name="Marco Soares" userId="d0da0a5a-bb2d-4628-9140-122d0f91b28a" providerId="ADAL" clId="{9C716D8F-8829-42BC-924A-3E53FBB2B216}" dt="2022-08-22T14:34:47.498" v="527" actId="700"/>
          <ac:spMkLst>
            <pc:docMk/>
            <pc:sldMk cId="3822597553" sldId="281"/>
            <ac:spMk id="4" creationId="{CB3167EF-FA83-4712-BEB6-C1C927170CAB}"/>
          </ac:spMkLst>
        </pc:spChg>
        <pc:spChg chg="add mod ord">
          <ac:chgData name="Marco Soares" userId="d0da0a5a-bb2d-4628-9140-122d0f91b28a" providerId="ADAL" clId="{9C716D8F-8829-42BC-924A-3E53FBB2B216}" dt="2022-08-22T14:34:47.498" v="527" actId="700"/>
          <ac:spMkLst>
            <pc:docMk/>
            <pc:sldMk cId="3822597553" sldId="281"/>
            <ac:spMk id="5" creationId="{431667D6-76DB-42A7-8BFE-6E3976789013}"/>
          </ac:spMkLst>
        </pc:spChg>
        <pc:spChg chg="add mod ord">
          <ac:chgData name="Marco Soares" userId="d0da0a5a-bb2d-4628-9140-122d0f91b28a" providerId="ADAL" clId="{9C716D8F-8829-42BC-924A-3E53FBB2B216}" dt="2022-08-22T14:34:47.498" v="527" actId="700"/>
          <ac:spMkLst>
            <pc:docMk/>
            <pc:sldMk cId="3822597553" sldId="281"/>
            <ac:spMk id="6" creationId="{43724D16-9E15-46CE-ABE2-D984D73ECFEB}"/>
          </ac:spMkLst>
        </pc:spChg>
      </pc:sldChg>
      <pc:sldChg chg="addSp delSp modSp mod modClrScheme chgLayout">
        <pc:chgData name="Marco Soares" userId="d0da0a5a-bb2d-4628-9140-122d0f91b28a" providerId="ADAL" clId="{9C716D8F-8829-42BC-924A-3E53FBB2B216}" dt="2022-08-22T14:34:47.498" v="527" actId="700"/>
        <pc:sldMkLst>
          <pc:docMk/>
          <pc:sldMk cId="3345360423" sldId="282"/>
        </pc:sldMkLst>
        <pc:spChg chg="add del mod ord">
          <ac:chgData name="Marco Soares" userId="d0da0a5a-bb2d-4628-9140-122d0f91b28a" providerId="ADAL" clId="{9C716D8F-8829-42BC-924A-3E53FBB2B216}" dt="2022-08-22T14:34:43.193" v="526" actId="700"/>
          <ac:spMkLst>
            <pc:docMk/>
            <pc:sldMk cId="3345360423" sldId="282"/>
            <ac:spMk id="3" creationId="{FCA4ABC1-BB8A-441C-A33A-85118875520A}"/>
          </ac:spMkLst>
        </pc:spChg>
        <pc:spChg chg="add del mod ord">
          <ac:chgData name="Marco Soares" userId="d0da0a5a-bb2d-4628-9140-122d0f91b28a" providerId="ADAL" clId="{9C716D8F-8829-42BC-924A-3E53FBB2B216}" dt="2022-08-22T14:34:43.193" v="526" actId="700"/>
          <ac:spMkLst>
            <pc:docMk/>
            <pc:sldMk cId="3345360423" sldId="282"/>
            <ac:spMk id="4" creationId="{9F0A784B-69B7-45DF-8673-EEF5F8D4353E}"/>
          </ac:spMkLst>
        </pc:spChg>
        <pc:spChg chg="add mod ord">
          <ac:chgData name="Marco Soares" userId="d0da0a5a-bb2d-4628-9140-122d0f91b28a" providerId="ADAL" clId="{9C716D8F-8829-42BC-924A-3E53FBB2B216}" dt="2022-08-22T14:34:47.498" v="527" actId="700"/>
          <ac:spMkLst>
            <pc:docMk/>
            <pc:sldMk cId="3345360423" sldId="282"/>
            <ac:spMk id="5" creationId="{A7604EDF-DF69-477F-80DF-C5509609CDD0}"/>
          </ac:spMkLst>
        </pc:spChg>
        <pc:spChg chg="add mod ord">
          <ac:chgData name="Marco Soares" userId="d0da0a5a-bb2d-4628-9140-122d0f91b28a" providerId="ADAL" clId="{9C716D8F-8829-42BC-924A-3E53FBB2B216}" dt="2022-08-22T14:34:47.498" v="527" actId="700"/>
          <ac:spMkLst>
            <pc:docMk/>
            <pc:sldMk cId="3345360423" sldId="282"/>
            <ac:spMk id="6" creationId="{239462A2-E89A-40E0-BFBE-E0976C67367C}"/>
          </ac:spMkLst>
        </pc:spChg>
        <pc:spChg chg="add mod ord">
          <ac:chgData name="Marco Soares" userId="d0da0a5a-bb2d-4628-9140-122d0f91b28a" providerId="ADAL" clId="{9C716D8F-8829-42BC-924A-3E53FBB2B216}" dt="2022-08-22T14:34:47.498" v="527" actId="700"/>
          <ac:spMkLst>
            <pc:docMk/>
            <pc:sldMk cId="3345360423" sldId="282"/>
            <ac:spMk id="7" creationId="{3B7E507E-9092-44BE-BAAF-107718A95E78}"/>
          </ac:spMkLst>
        </pc:spChg>
      </pc:sldChg>
      <pc:sldChg chg="addSp delSp modSp mod modClrScheme chgLayout">
        <pc:chgData name="Marco Soares" userId="d0da0a5a-bb2d-4628-9140-122d0f91b28a" providerId="ADAL" clId="{9C716D8F-8829-42BC-924A-3E53FBB2B216}" dt="2022-08-22T14:35:55.370" v="558" actId="700"/>
        <pc:sldMkLst>
          <pc:docMk/>
          <pc:sldMk cId="1332271589" sldId="283"/>
        </pc:sldMkLst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1332271589" sldId="283"/>
            <ac:spMk id="2" creationId="{E19D0684-7E42-4EE5-B039-29B70334F681}"/>
          </ac:spMkLst>
        </pc:spChg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1332271589" sldId="283"/>
            <ac:spMk id="3" creationId="{796B7B21-8584-451E-AF38-9EF2AF7B3C6E}"/>
          </ac:spMkLst>
        </pc:spChg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1332271589" sldId="283"/>
            <ac:spMk id="5" creationId="{62D1166A-3E36-4E5F-9D4F-F4CEE92CC2EC}"/>
          </ac:spMkLst>
        </pc:spChg>
        <pc:picChg chg="add mod">
          <ac:chgData name="Marco Soares" userId="d0da0a5a-bb2d-4628-9140-122d0f91b28a" providerId="ADAL" clId="{9C716D8F-8829-42BC-924A-3E53FBB2B216}" dt="2022-08-22T14:06:29.034" v="69" actId="1076"/>
          <ac:picMkLst>
            <pc:docMk/>
            <pc:sldMk cId="1332271589" sldId="283"/>
            <ac:picMk id="7" creationId="{A250D7EF-70BE-4BB5-BEDA-ECADD0C33FCC}"/>
          </ac:picMkLst>
        </pc:picChg>
        <pc:picChg chg="del">
          <ac:chgData name="Marco Soares" userId="d0da0a5a-bb2d-4628-9140-122d0f91b28a" providerId="ADAL" clId="{9C716D8F-8829-42BC-924A-3E53FBB2B216}" dt="2022-08-22T14:06:26.533" v="67" actId="478"/>
          <ac:picMkLst>
            <pc:docMk/>
            <pc:sldMk cId="1332271589" sldId="283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5:55.370" v="558" actId="700"/>
        <pc:sldMkLst>
          <pc:docMk/>
          <pc:sldMk cId="2236436590" sldId="284"/>
        </pc:sldMkLst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2236436590" sldId="284"/>
            <ac:spMk id="2" creationId="{19A8E309-2605-4EA9-98CF-2E0BA19CAEAF}"/>
          </ac:spMkLst>
        </pc:spChg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2236436590" sldId="284"/>
            <ac:spMk id="3" creationId="{A439858A-CA66-42BC-9847-38323529FC90}"/>
          </ac:spMkLst>
        </pc:spChg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2236436590" sldId="284"/>
            <ac:spMk id="5" creationId="{C73D58BF-68E7-4380-9820-E766D47D25F6}"/>
          </ac:spMkLst>
        </pc:spChg>
        <pc:picChg chg="add mod">
          <ac:chgData name="Marco Soares" userId="d0da0a5a-bb2d-4628-9140-122d0f91b28a" providerId="ADAL" clId="{9C716D8F-8829-42BC-924A-3E53FBB2B216}" dt="2022-08-22T14:06:22.591" v="66" actId="1076"/>
          <ac:picMkLst>
            <pc:docMk/>
            <pc:sldMk cId="2236436590" sldId="284"/>
            <ac:picMk id="7" creationId="{3C43946B-91BD-4DF4-BC94-A76F50DF6CC9}"/>
          </ac:picMkLst>
        </pc:picChg>
        <pc:picChg chg="del">
          <ac:chgData name="Marco Soares" userId="d0da0a5a-bb2d-4628-9140-122d0f91b28a" providerId="ADAL" clId="{9C716D8F-8829-42BC-924A-3E53FBB2B216}" dt="2022-08-22T14:06:19.932" v="64" actId="478"/>
          <ac:picMkLst>
            <pc:docMk/>
            <pc:sldMk cId="2236436590" sldId="284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5:55.370" v="558" actId="700"/>
        <pc:sldMkLst>
          <pc:docMk/>
          <pc:sldMk cId="2655969391" sldId="285"/>
        </pc:sldMkLst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2655969391" sldId="285"/>
            <ac:spMk id="2" creationId="{8C207F0C-F00D-42A9-98EE-A2A48B423743}"/>
          </ac:spMkLst>
        </pc:spChg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2655969391" sldId="285"/>
            <ac:spMk id="3" creationId="{16876092-8393-47E8-A937-D18A0C7F367E}"/>
          </ac:spMkLst>
        </pc:spChg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2655969391" sldId="285"/>
            <ac:spMk id="5" creationId="{4FD52249-4F83-4FC6-BB1C-134F8FCC67B0}"/>
          </ac:spMkLst>
        </pc:spChg>
        <pc:picChg chg="add mod">
          <ac:chgData name="Marco Soares" userId="d0da0a5a-bb2d-4628-9140-122d0f91b28a" providerId="ADAL" clId="{9C716D8F-8829-42BC-924A-3E53FBB2B216}" dt="2022-08-22T14:06:35.654" v="72" actId="1076"/>
          <ac:picMkLst>
            <pc:docMk/>
            <pc:sldMk cId="2655969391" sldId="285"/>
            <ac:picMk id="7" creationId="{8127E6B0-F502-4853-8760-0BEB3752EC01}"/>
          </ac:picMkLst>
        </pc:picChg>
        <pc:picChg chg="del">
          <ac:chgData name="Marco Soares" userId="d0da0a5a-bb2d-4628-9140-122d0f91b28a" providerId="ADAL" clId="{9C716D8F-8829-42BC-924A-3E53FBB2B216}" dt="2022-08-22T14:06:32.304" v="70" actId="478"/>
          <ac:picMkLst>
            <pc:docMk/>
            <pc:sldMk cId="2655969391" sldId="285"/>
            <ac:picMk id="17" creationId="{191AA2AA-3A42-491E-B107-E8A92A9643B5}"/>
          </ac:picMkLst>
        </pc:picChg>
      </pc:sldChg>
      <pc:sldChg chg="addSp delSp modSp mod ord modClrScheme chgLayout">
        <pc:chgData name="Marco Soares" userId="d0da0a5a-bb2d-4628-9140-122d0f91b28a" providerId="ADAL" clId="{9C716D8F-8829-42BC-924A-3E53FBB2B216}" dt="2022-08-22T14:36:07.487" v="561" actId="700"/>
        <pc:sldMkLst>
          <pc:docMk/>
          <pc:sldMk cId="2867794317" sldId="286"/>
        </pc:sldMkLst>
        <pc:spChg chg="add mod ord">
          <ac:chgData name="Marco Soares" userId="d0da0a5a-bb2d-4628-9140-122d0f91b28a" providerId="ADAL" clId="{9C716D8F-8829-42BC-924A-3E53FBB2B216}" dt="2022-08-22T14:36:07.487" v="561" actId="700"/>
          <ac:spMkLst>
            <pc:docMk/>
            <pc:sldMk cId="2867794317" sldId="286"/>
            <ac:spMk id="2" creationId="{B4950AD6-4984-406E-98BE-87686FD94904}"/>
          </ac:spMkLst>
        </pc:spChg>
        <pc:spChg chg="add mod ord">
          <ac:chgData name="Marco Soares" userId="d0da0a5a-bb2d-4628-9140-122d0f91b28a" providerId="ADAL" clId="{9C716D8F-8829-42BC-924A-3E53FBB2B216}" dt="2022-08-22T14:36:07.487" v="561" actId="700"/>
          <ac:spMkLst>
            <pc:docMk/>
            <pc:sldMk cId="2867794317" sldId="286"/>
            <ac:spMk id="5" creationId="{CC2A8164-90A7-43E7-8AE6-8E6390F484AE}"/>
          </ac:spMkLst>
        </pc:spChg>
        <pc:spChg chg="add mod ord">
          <ac:chgData name="Marco Soares" userId="d0da0a5a-bb2d-4628-9140-122d0f91b28a" providerId="ADAL" clId="{9C716D8F-8829-42BC-924A-3E53FBB2B216}" dt="2022-08-22T14:36:07.487" v="561" actId="700"/>
          <ac:spMkLst>
            <pc:docMk/>
            <pc:sldMk cId="2867794317" sldId="286"/>
            <ac:spMk id="8" creationId="{4024AFE8-CAB1-4FB1-BB6D-DBB35CDC031D}"/>
          </ac:spMkLst>
        </pc:spChg>
        <pc:picChg chg="add mod">
          <ac:chgData name="Marco Soares" userId="d0da0a5a-bb2d-4628-9140-122d0f91b28a" providerId="ADAL" clId="{9C716D8F-8829-42BC-924A-3E53FBB2B216}" dt="2022-08-22T14:06:48.641" v="78" actId="1076"/>
          <ac:picMkLst>
            <pc:docMk/>
            <pc:sldMk cId="2867794317" sldId="286"/>
            <ac:picMk id="7" creationId="{468AF220-11A3-477D-8209-8C4F2A56AF68}"/>
          </ac:picMkLst>
        </pc:picChg>
        <pc:picChg chg="del">
          <ac:chgData name="Marco Soares" userId="d0da0a5a-bb2d-4628-9140-122d0f91b28a" providerId="ADAL" clId="{9C716D8F-8829-42BC-924A-3E53FBB2B216}" dt="2022-08-22T14:06:45.525" v="76" actId="478"/>
          <ac:picMkLst>
            <pc:docMk/>
            <pc:sldMk cId="2867794317" sldId="286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6:42.548" v="590" actId="700"/>
        <pc:sldMkLst>
          <pc:docMk/>
          <pc:sldMk cId="198603111" sldId="287"/>
        </pc:sldMkLst>
        <pc:spChg chg="add mod ord">
          <ac:chgData name="Marco Soares" userId="d0da0a5a-bb2d-4628-9140-122d0f91b28a" providerId="ADAL" clId="{9C716D8F-8829-42BC-924A-3E53FBB2B216}" dt="2022-08-22T14:36:42.548" v="590" actId="700"/>
          <ac:spMkLst>
            <pc:docMk/>
            <pc:sldMk cId="198603111" sldId="287"/>
            <ac:spMk id="2" creationId="{128E356E-8AC3-4763-9018-C6623E5C5D60}"/>
          </ac:spMkLst>
        </pc:spChg>
        <pc:spChg chg="add mod ord">
          <ac:chgData name="Marco Soares" userId="d0da0a5a-bb2d-4628-9140-122d0f91b28a" providerId="ADAL" clId="{9C716D8F-8829-42BC-924A-3E53FBB2B216}" dt="2022-08-22T14:36:42.548" v="590" actId="700"/>
          <ac:spMkLst>
            <pc:docMk/>
            <pc:sldMk cId="198603111" sldId="287"/>
            <ac:spMk id="3" creationId="{3168E35B-2EDC-4A50-AA41-8BDF9388F5D0}"/>
          </ac:spMkLst>
        </pc:spChg>
        <pc:spChg chg="add mod ord">
          <ac:chgData name="Marco Soares" userId="d0da0a5a-bb2d-4628-9140-122d0f91b28a" providerId="ADAL" clId="{9C716D8F-8829-42BC-924A-3E53FBB2B216}" dt="2022-08-22T14:36:42.548" v="590" actId="700"/>
          <ac:spMkLst>
            <pc:docMk/>
            <pc:sldMk cId="198603111" sldId="287"/>
            <ac:spMk id="8" creationId="{972226D2-4985-46C5-B0A4-26B5977BB730}"/>
          </ac:spMkLst>
        </pc:spChg>
        <pc:spChg chg="mod">
          <ac:chgData name="Marco Soares" userId="d0da0a5a-bb2d-4628-9140-122d0f91b28a" providerId="ADAL" clId="{9C716D8F-8829-42BC-924A-3E53FBB2B216}" dt="2022-08-22T14:06:51.559" v="79" actId="1076"/>
          <ac:spMkLst>
            <pc:docMk/>
            <pc:sldMk cId="198603111" sldId="287"/>
            <ac:spMk id="12" creationId="{72CB4501-AE8E-46C9-9430-6CB2F1F5B04E}"/>
          </ac:spMkLst>
        </pc:spChg>
        <pc:picChg chg="add mod">
          <ac:chgData name="Marco Soares" userId="d0da0a5a-bb2d-4628-9140-122d0f91b28a" providerId="ADAL" clId="{9C716D8F-8829-42BC-924A-3E53FBB2B216}" dt="2022-08-22T14:06:55.711" v="82" actId="1076"/>
          <ac:picMkLst>
            <pc:docMk/>
            <pc:sldMk cId="198603111" sldId="287"/>
            <ac:picMk id="7" creationId="{72CA29A8-A47C-4944-B0D9-04AF38745FDF}"/>
          </ac:picMkLst>
        </pc:picChg>
        <pc:picChg chg="del">
          <ac:chgData name="Marco Soares" userId="d0da0a5a-bb2d-4628-9140-122d0f91b28a" providerId="ADAL" clId="{9C716D8F-8829-42BC-924A-3E53FBB2B216}" dt="2022-08-22T14:06:53.299" v="80" actId="478"/>
          <ac:picMkLst>
            <pc:docMk/>
            <pc:sldMk cId="198603111" sldId="287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6:42.548" v="590" actId="700"/>
        <pc:sldMkLst>
          <pc:docMk/>
          <pc:sldMk cId="1600847887" sldId="288"/>
        </pc:sldMkLst>
        <pc:spChg chg="add mod ord">
          <ac:chgData name="Marco Soares" userId="d0da0a5a-bb2d-4628-9140-122d0f91b28a" providerId="ADAL" clId="{9C716D8F-8829-42BC-924A-3E53FBB2B216}" dt="2022-08-22T14:36:42.548" v="590" actId="700"/>
          <ac:spMkLst>
            <pc:docMk/>
            <pc:sldMk cId="1600847887" sldId="288"/>
            <ac:spMk id="2" creationId="{3B55FF93-EDF7-4538-9ACB-E185EAF4AC00}"/>
          </ac:spMkLst>
        </pc:spChg>
        <pc:spChg chg="add mod ord">
          <ac:chgData name="Marco Soares" userId="d0da0a5a-bb2d-4628-9140-122d0f91b28a" providerId="ADAL" clId="{9C716D8F-8829-42BC-924A-3E53FBB2B216}" dt="2022-08-22T14:36:42.548" v="590" actId="700"/>
          <ac:spMkLst>
            <pc:docMk/>
            <pc:sldMk cId="1600847887" sldId="288"/>
            <ac:spMk id="3" creationId="{4DAE3200-B5A1-4665-8E0D-C7DB1900AF0F}"/>
          </ac:spMkLst>
        </pc:spChg>
        <pc:spChg chg="add mod ord">
          <ac:chgData name="Marco Soares" userId="d0da0a5a-bb2d-4628-9140-122d0f91b28a" providerId="ADAL" clId="{9C716D8F-8829-42BC-924A-3E53FBB2B216}" dt="2022-08-22T14:36:42.548" v="590" actId="700"/>
          <ac:spMkLst>
            <pc:docMk/>
            <pc:sldMk cId="1600847887" sldId="288"/>
            <ac:spMk id="5" creationId="{669DDE78-26FF-427B-A00C-B01B72C000B6}"/>
          </ac:spMkLst>
        </pc:spChg>
        <pc:picChg chg="add mod">
          <ac:chgData name="Marco Soares" userId="d0da0a5a-bb2d-4628-9140-122d0f91b28a" providerId="ADAL" clId="{9C716D8F-8829-42BC-924A-3E53FBB2B216}" dt="2022-08-22T14:07:02.854" v="85" actId="1076"/>
          <ac:picMkLst>
            <pc:docMk/>
            <pc:sldMk cId="1600847887" sldId="288"/>
            <ac:picMk id="16" creationId="{6206D3EE-EA12-41E4-8396-8E3E35DABE3E}"/>
          </ac:picMkLst>
        </pc:picChg>
        <pc:picChg chg="del">
          <ac:chgData name="Marco Soares" userId="d0da0a5a-bb2d-4628-9140-122d0f91b28a" providerId="ADAL" clId="{9C716D8F-8829-42BC-924A-3E53FBB2B216}" dt="2022-08-22T14:07:00.325" v="83" actId="478"/>
          <ac:picMkLst>
            <pc:docMk/>
            <pc:sldMk cId="1600847887" sldId="288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6:42.548" v="590" actId="700"/>
        <pc:sldMkLst>
          <pc:docMk/>
          <pc:sldMk cId="1284903558" sldId="289"/>
        </pc:sldMkLst>
        <pc:spChg chg="add mod ord">
          <ac:chgData name="Marco Soares" userId="d0da0a5a-bb2d-4628-9140-122d0f91b28a" providerId="ADAL" clId="{9C716D8F-8829-42BC-924A-3E53FBB2B216}" dt="2022-08-22T14:36:42.548" v="590" actId="700"/>
          <ac:spMkLst>
            <pc:docMk/>
            <pc:sldMk cId="1284903558" sldId="289"/>
            <ac:spMk id="2" creationId="{02BF21CC-B0FC-46B0-8D31-EA77C45A889F}"/>
          </ac:spMkLst>
        </pc:spChg>
        <pc:spChg chg="add mod ord">
          <ac:chgData name="Marco Soares" userId="d0da0a5a-bb2d-4628-9140-122d0f91b28a" providerId="ADAL" clId="{9C716D8F-8829-42BC-924A-3E53FBB2B216}" dt="2022-08-22T14:36:42.548" v="590" actId="700"/>
          <ac:spMkLst>
            <pc:docMk/>
            <pc:sldMk cId="1284903558" sldId="289"/>
            <ac:spMk id="3" creationId="{D439E6F3-F5DD-4927-9D55-6CD9FB674D3A}"/>
          </ac:spMkLst>
        </pc:spChg>
        <pc:spChg chg="add mod ord">
          <ac:chgData name="Marco Soares" userId="d0da0a5a-bb2d-4628-9140-122d0f91b28a" providerId="ADAL" clId="{9C716D8F-8829-42BC-924A-3E53FBB2B216}" dt="2022-08-22T14:36:42.548" v="590" actId="700"/>
          <ac:spMkLst>
            <pc:docMk/>
            <pc:sldMk cId="1284903558" sldId="289"/>
            <ac:spMk id="5" creationId="{1E96488A-4624-43A7-9D3C-AB077FCA2828}"/>
          </ac:spMkLst>
        </pc:spChg>
        <pc:picChg chg="add mod">
          <ac:chgData name="Marco Soares" userId="d0da0a5a-bb2d-4628-9140-122d0f91b28a" providerId="ADAL" clId="{9C716D8F-8829-42BC-924A-3E53FBB2B216}" dt="2022-08-22T14:07:10.470" v="88" actId="1076"/>
          <ac:picMkLst>
            <pc:docMk/>
            <pc:sldMk cId="1284903558" sldId="289"/>
            <ac:picMk id="8" creationId="{6E7653D7-C829-46DE-8342-585482BD0678}"/>
          </ac:picMkLst>
        </pc:picChg>
        <pc:picChg chg="del">
          <ac:chgData name="Marco Soares" userId="d0da0a5a-bb2d-4628-9140-122d0f91b28a" providerId="ADAL" clId="{9C716D8F-8829-42BC-924A-3E53FBB2B216}" dt="2022-08-22T14:07:07.203" v="86" actId="478"/>
          <ac:picMkLst>
            <pc:docMk/>
            <pc:sldMk cId="1284903558" sldId="289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4:47.498" v="527" actId="700"/>
        <pc:sldMkLst>
          <pc:docMk/>
          <pc:sldMk cId="684873671" sldId="290"/>
        </pc:sldMkLst>
        <pc:spChg chg="add del mod ord">
          <ac:chgData name="Marco Soares" userId="d0da0a5a-bb2d-4628-9140-122d0f91b28a" providerId="ADAL" clId="{9C716D8F-8829-42BC-924A-3E53FBB2B216}" dt="2022-08-22T14:34:43.193" v="526" actId="700"/>
          <ac:spMkLst>
            <pc:docMk/>
            <pc:sldMk cId="684873671" sldId="290"/>
            <ac:spMk id="2" creationId="{82C404E5-C541-459D-A9F7-B4207E09E5D4}"/>
          </ac:spMkLst>
        </pc:spChg>
        <pc:spChg chg="add del mod ord">
          <ac:chgData name="Marco Soares" userId="d0da0a5a-bb2d-4628-9140-122d0f91b28a" providerId="ADAL" clId="{9C716D8F-8829-42BC-924A-3E53FBB2B216}" dt="2022-08-22T14:34:43.193" v="526" actId="700"/>
          <ac:spMkLst>
            <pc:docMk/>
            <pc:sldMk cId="684873671" sldId="290"/>
            <ac:spMk id="3" creationId="{AA3C21A4-C648-4921-A192-8C125F54A009}"/>
          </ac:spMkLst>
        </pc:spChg>
        <pc:spChg chg="add mod ord">
          <ac:chgData name="Marco Soares" userId="d0da0a5a-bb2d-4628-9140-122d0f91b28a" providerId="ADAL" clId="{9C716D8F-8829-42BC-924A-3E53FBB2B216}" dt="2022-08-22T14:34:47.498" v="527" actId="700"/>
          <ac:spMkLst>
            <pc:docMk/>
            <pc:sldMk cId="684873671" sldId="290"/>
            <ac:spMk id="9" creationId="{F12706C9-5B5E-434A-A7A8-CDA43150682D}"/>
          </ac:spMkLst>
        </pc:spChg>
        <pc:spChg chg="add mod ord">
          <ac:chgData name="Marco Soares" userId="d0da0a5a-bb2d-4628-9140-122d0f91b28a" providerId="ADAL" clId="{9C716D8F-8829-42BC-924A-3E53FBB2B216}" dt="2022-08-22T14:34:47.498" v="527" actId="700"/>
          <ac:spMkLst>
            <pc:docMk/>
            <pc:sldMk cId="684873671" sldId="290"/>
            <ac:spMk id="10" creationId="{5A8E3C1E-8A3E-4073-B9BC-23BE2AB3606C}"/>
          </ac:spMkLst>
        </pc:spChg>
        <pc:spChg chg="add mod ord">
          <ac:chgData name="Marco Soares" userId="d0da0a5a-bb2d-4628-9140-122d0f91b28a" providerId="ADAL" clId="{9C716D8F-8829-42BC-924A-3E53FBB2B216}" dt="2022-08-22T14:34:47.498" v="527" actId="700"/>
          <ac:spMkLst>
            <pc:docMk/>
            <pc:sldMk cId="684873671" sldId="290"/>
            <ac:spMk id="13" creationId="{ACB38B50-B5C0-44B3-B32B-850E2D69438F}"/>
          </ac:spMkLst>
        </pc:spChg>
        <pc:picChg chg="del">
          <ac:chgData name="Marco Soares" userId="d0da0a5a-bb2d-4628-9140-122d0f91b28a" providerId="ADAL" clId="{9C716D8F-8829-42BC-924A-3E53FBB2B216}" dt="2022-08-22T14:06:10.051" v="61" actId="478"/>
          <ac:picMkLst>
            <pc:docMk/>
            <pc:sldMk cId="684873671" sldId="290"/>
            <ac:picMk id="17" creationId="{191AA2AA-3A42-491E-B107-E8A92A9643B5}"/>
          </ac:picMkLst>
        </pc:picChg>
        <pc:picChg chg="add mod">
          <ac:chgData name="Marco Soares" userId="d0da0a5a-bb2d-4628-9140-122d0f91b28a" providerId="ADAL" clId="{9C716D8F-8829-42BC-924A-3E53FBB2B216}" dt="2022-08-22T14:06:14.951" v="63" actId="1076"/>
          <ac:picMkLst>
            <pc:docMk/>
            <pc:sldMk cId="684873671" sldId="290"/>
            <ac:picMk id="33" creationId="{B09F51B0-F2CD-4343-843F-18164D4ECAA7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7:20.370" v="617" actId="700"/>
        <pc:sldMkLst>
          <pc:docMk/>
          <pc:sldMk cId="3836526284" sldId="291"/>
        </pc:sldMkLst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3836526284" sldId="291"/>
            <ac:spMk id="2" creationId="{10246B6A-9C3C-4668-B08F-34750CF4CF96}"/>
          </ac:spMkLst>
        </pc:spChg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3836526284" sldId="291"/>
            <ac:spMk id="3" creationId="{ACD2E53B-723F-42F1-ACC9-D2E4D6A181F7}"/>
          </ac:spMkLst>
        </pc:spChg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3836526284" sldId="291"/>
            <ac:spMk id="5" creationId="{C9931537-C32B-4B5E-AD1D-CD673E1A0C40}"/>
          </ac:spMkLst>
        </pc:spChg>
        <pc:picChg chg="add mod">
          <ac:chgData name="Marco Soares" userId="d0da0a5a-bb2d-4628-9140-122d0f91b28a" providerId="ADAL" clId="{9C716D8F-8829-42BC-924A-3E53FBB2B216}" dt="2022-08-22T14:08:52.150" v="91" actId="1076"/>
          <ac:picMkLst>
            <pc:docMk/>
            <pc:sldMk cId="3836526284" sldId="291"/>
            <ac:picMk id="7" creationId="{BFBFA17A-E5B7-4C2B-BAC1-FFA1A2103B85}"/>
          </ac:picMkLst>
        </pc:picChg>
        <pc:picChg chg="del">
          <ac:chgData name="Marco Soares" userId="d0da0a5a-bb2d-4628-9140-122d0f91b28a" providerId="ADAL" clId="{9C716D8F-8829-42BC-924A-3E53FBB2B216}" dt="2022-08-22T14:08:46.572" v="89" actId="478"/>
          <ac:picMkLst>
            <pc:docMk/>
            <pc:sldMk cId="3836526284" sldId="291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7:20.370" v="617" actId="700"/>
        <pc:sldMkLst>
          <pc:docMk/>
          <pc:sldMk cId="4026764502" sldId="292"/>
        </pc:sldMkLst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4026764502" sldId="292"/>
            <ac:spMk id="2" creationId="{A0AFED74-BCA4-4E4B-88E5-E188D943D720}"/>
          </ac:spMkLst>
        </pc:spChg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4026764502" sldId="292"/>
            <ac:spMk id="3" creationId="{C0AABE63-E732-46B3-BD2C-F7DF76A51F8A}"/>
          </ac:spMkLst>
        </pc:spChg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4026764502" sldId="292"/>
            <ac:spMk id="5" creationId="{67826189-664E-4411-93D8-B6763A513818}"/>
          </ac:spMkLst>
        </pc:spChg>
        <pc:picChg chg="add mod">
          <ac:chgData name="Marco Soares" userId="d0da0a5a-bb2d-4628-9140-122d0f91b28a" providerId="ADAL" clId="{9C716D8F-8829-42BC-924A-3E53FBB2B216}" dt="2022-08-22T14:08:58.095" v="94" actId="1076"/>
          <ac:picMkLst>
            <pc:docMk/>
            <pc:sldMk cId="4026764502" sldId="292"/>
            <ac:picMk id="7" creationId="{79C161C2-D1F9-4409-B7B8-ECCE17E60534}"/>
          </ac:picMkLst>
        </pc:picChg>
        <pc:picChg chg="del">
          <ac:chgData name="Marco Soares" userId="d0da0a5a-bb2d-4628-9140-122d0f91b28a" providerId="ADAL" clId="{9C716D8F-8829-42BC-924A-3E53FBB2B216}" dt="2022-08-22T14:08:55.735" v="92" actId="478"/>
          <ac:picMkLst>
            <pc:docMk/>
            <pc:sldMk cId="4026764502" sldId="292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7:20.370" v="617" actId="700"/>
        <pc:sldMkLst>
          <pc:docMk/>
          <pc:sldMk cId="1463789910" sldId="293"/>
        </pc:sldMkLst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1463789910" sldId="293"/>
            <ac:spMk id="2" creationId="{59BA3356-AEC2-48C6-A2CA-B5A9EC03440E}"/>
          </ac:spMkLst>
        </pc:spChg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1463789910" sldId="293"/>
            <ac:spMk id="3" creationId="{199015E1-BC7F-4BC8-A498-A1F7214EDD74}"/>
          </ac:spMkLst>
        </pc:spChg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1463789910" sldId="293"/>
            <ac:spMk id="5" creationId="{613B8C32-7515-4792-8635-2D311CA830C1}"/>
          </ac:spMkLst>
        </pc:spChg>
        <pc:picChg chg="add mod">
          <ac:chgData name="Marco Soares" userId="d0da0a5a-bb2d-4628-9140-122d0f91b28a" providerId="ADAL" clId="{9C716D8F-8829-42BC-924A-3E53FBB2B216}" dt="2022-08-22T14:09:02.604" v="96"/>
          <ac:picMkLst>
            <pc:docMk/>
            <pc:sldMk cId="1463789910" sldId="293"/>
            <ac:picMk id="10" creationId="{8EE01BDA-9ACB-4364-A102-E27E1828B995}"/>
          </ac:picMkLst>
        </pc:picChg>
        <pc:picChg chg="del">
          <ac:chgData name="Marco Soares" userId="d0da0a5a-bb2d-4628-9140-122d0f91b28a" providerId="ADAL" clId="{9C716D8F-8829-42BC-924A-3E53FBB2B216}" dt="2022-08-22T14:09:01.124" v="95" actId="478"/>
          <ac:picMkLst>
            <pc:docMk/>
            <pc:sldMk cId="1463789910" sldId="293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7:20.370" v="617" actId="700"/>
        <pc:sldMkLst>
          <pc:docMk/>
          <pc:sldMk cId="4049873834" sldId="294"/>
        </pc:sldMkLst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4049873834" sldId="294"/>
            <ac:spMk id="2" creationId="{C6CA4614-AC04-4592-A1A6-2B965410C1BB}"/>
          </ac:spMkLst>
        </pc:spChg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4049873834" sldId="294"/>
            <ac:spMk id="5" creationId="{9F51CD8F-FEDF-4FB3-8E3D-39D67280B79F}"/>
          </ac:spMkLst>
        </pc:spChg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4049873834" sldId="294"/>
            <ac:spMk id="8" creationId="{4D404AE3-C9B2-4412-8031-6232B38199AB}"/>
          </ac:spMkLst>
        </pc:spChg>
        <pc:picChg chg="add mod">
          <ac:chgData name="Marco Soares" userId="d0da0a5a-bb2d-4628-9140-122d0f91b28a" providerId="ADAL" clId="{9C716D8F-8829-42BC-924A-3E53FBB2B216}" dt="2022-08-22T14:09:10.240" v="98"/>
          <ac:picMkLst>
            <pc:docMk/>
            <pc:sldMk cId="4049873834" sldId="294"/>
            <ac:picMk id="10" creationId="{87A2C2A9-F896-4FEF-85A8-08032970730D}"/>
          </ac:picMkLst>
        </pc:picChg>
        <pc:picChg chg="del">
          <ac:chgData name="Marco Soares" userId="d0da0a5a-bb2d-4628-9140-122d0f91b28a" providerId="ADAL" clId="{9C716D8F-8829-42BC-924A-3E53FBB2B216}" dt="2022-08-22T14:09:09.017" v="97" actId="478"/>
          <ac:picMkLst>
            <pc:docMk/>
            <pc:sldMk cId="4049873834" sldId="294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7:20.370" v="617" actId="700"/>
        <pc:sldMkLst>
          <pc:docMk/>
          <pc:sldMk cId="405932269" sldId="295"/>
        </pc:sldMkLst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405932269" sldId="295"/>
            <ac:spMk id="2" creationId="{9B250C46-2B32-49A8-94DD-8DF629E5737E}"/>
          </ac:spMkLst>
        </pc:spChg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405932269" sldId="295"/>
            <ac:spMk id="3" creationId="{BB3FF922-CADE-49C7-A5FF-C7D56439DD97}"/>
          </ac:spMkLst>
        </pc:spChg>
        <pc:spChg chg="add mod ord">
          <ac:chgData name="Marco Soares" userId="d0da0a5a-bb2d-4628-9140-122d0f91b28a" providerId="ADAL" clId="{9C716D8F-8829-42BC-924A-3E53FBB2B216}" dt="2022-08-22T14:37:20.370" v="617" actId="700"/>
          <ac:spMkLst>
            <pc:docMk/>
            <pc:sldMk cId="405932269" sldId="295"/>
            <ac:spMk id="5" creationId="{234DAB31-435C-488D-BD9A-19E96F9A59B2}"/>
          </ac:spMkLst>
        </pc:spChg>
        <pc:picChg chg="add mod">
          <ac:chgData name="Marco Soares" userId="d0da0a5a-bb2d-4628-9140-122d0f91b28a" providerId="ADAL" clId="{9C716D8F-8829-42BC-924A-3E53FBB2B216}" dt="2022-08-22T14:09:16.183" v="101" actId="1076"/>
          <ac:picMkLst>
            <pc:docMk/>
            <pc:sldMk cId="405932269" sldId="295"/>
            <ac:picMk id="8" creationId="{CF1E8A32-282D-4D9E-A31F-F8F7BF563457}"/>
          </ac:picMkLst>
        </pc:picChg>
        <pc:picChg chg="del">
          <ac:chgData name="Marco Soares" userId="d0da0a5a-bb2d-4628-9140-122d0f91b28a" providerId="ADAL" clId="{9C716D8F-8829-42BC-924A-3E53FBB2B216}" dt="2022-08-22T14:09:13.827" v="99" actId="478"/>
          <ac:picMkLst>
            <pc:docMk/>
            <pc:sldMk cId="405932269" sldId="295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7:46.343" v="641" actId="700"/>
        <pc:sldMkLst>
          <pc:docMk/>
          <pc:sldMk cId="1520568141" sldId="296"/>
        </pc:sldMkLst>
        <pc:spChg chg="add mod ord">
          <ac:chgData name="Marco Soares" userId="d0da0a5a-bb2d-4628-9140-122d0f91b28a" providerId="ADAL" clId="{9C716D8F-8829-42BC-924A-3E53FBB2B216}" dt="2022-08-22T14:37:46.343" v="641" actId="700"/>
          <ac:spMkLst>
            <pc:docMk/>
            <pc:sldMk cId="1520568141" sldId="296"/>
            <ac:spMk id="2" creationId="{6F08F7D6-1E7C-4A4E-B406-BE04C3F5370A}"/>
          </ac:spMkLst>
        </pc:spChg>
        <pc:spChg chg="add mod ord">
          <ac:chgData name="Marco Soares" userId="d0da0a5a-bb2d-4628-9140-122d0f91b28a" providerId="ADAL" clId="{9C716D8F-8829-42BC-924A-3E53FBB2B216}" dt="2022-08-22T14:37:46.343" v="641" actId="700"/>
          <ac:spMkLst>
            <pc:docMk/>
            <pc:sldMk cId="1520568141" sldId="296"/>
            <ac:spMk id="5" creationId="{A717FF05-83A0-4AB5-A074-6A57E9558740}"/>
          </ac:spMkLst>
        </pc:spChg>
        <pc:spChg chg="add mod ord">
          <ac:chgData name="Marco Soares" userId="d0da0a5a-bb2d-4628-9140-122d0f91b28a" providerId="ADAL" clId="{9C716D8F-8829-42BC-924A-3E53FBB2B216}" dt="2022-08-22T14:37:46.343" v="641" actId="700"/>
          <ac:spMkLst>
            <pc:docMk/>
            <pc:sldMk cId="1520568141" sldId="296"/>
            <ac:spMk id="7" creationId="{766E2FE2-A0F2-44AD-80EB-0E5AD9AD3235}"/>
          </ac:spMkLst>
        </pc:spChg>
        <pc:picChg chg="add mod">
          <ac:chgData name="Marco Soares" userId="d0da0a5a-bb2d-4628-9140-122d0f91b28a" providerId="ADAL" clId="{9C716D8F-8829-42BC-924A-3E53FBB2B216}" dt="2022-08-22T14:09:22.455" v="104" actId="1076"/>
          <ac:picMkLst>
            <pc:docMk/>
            <pc:sldMk cId="1520568141" sldId="296"/>
            <ac:picMk id="8" creationId="{F428DB5F-0D15-41EE-9BB1-4094C8526E94}"/>
          </ac:picMkLst>
        </pc:picChg>
        <pc:picChg chg="del">
          <ac:chgData name="Marco Soares" userId="d0da0a5a-bb2d-4628-9140-122d0f91b28a" providerId="ADAL" clId="{9C716D8F-8829-42BC-924A-3E53FBB2B216}" dt="2022-08-22T14:09:20.004" v="102" actId="478"/>
          <ac:picMkLst>
            <pc:docMk/>
            <pc:sldMk cId="1520568141" sldId="296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7:46.343" v="641" actId="700"/>
        <pc:sldMkLst>
          <pc:docMk/>
          <pc:sldMk cId="44459664" sldId="297"/>
        </pc:sldMkLst>
        <pc:spChg chg="add mod ord">
          <ac:chgData name="Marco Soares" userId="d0da0a5a-bb2d-4628-9140-122d0f91b28a" providerId="ADAL" clId="{9C716D8F-8829-42BC-924A-3E53FBB2B216}" dt="2022-08-22T14:37:46.343" v="641" actId="700"/>
          <ac:spMkLst>
            <pc:docMk/>
            <pc:sldMk cId="44459664" sldId="297"/>
            <ac:spMk id="2" creationId="{DF608127-B92F-401D-8BE0-795E5B6F34D8}"/>
          </ac:spMkLst>
        </pc:spChg>
        <pc:spChg chg="add mod ord">
          <ac:chgData name="Marco Soares" userId="d0da0a5a-bb2d-4628-9140-122d0f91b28a" providerId="ADAL" clId="{9C716D8F-8829-42BC-924A-3E53FBB2B216}" dt="2022-08-22T14:37:46.343" v="641" actId="700"/>
          <ac:spMkLst>
            <pc:docMk/>
            <pc:sldMk cId="44459664" sldId="297"/>
            <ac:spMk id="3" creationId="{3FACD863-8F4F-4DB3-A7B7-BC8FEE4DB2B9}"/>
          </ac:spMkLst>
        </pc:spChg>
        <pc:spChg chg="add mod ord">
          <ac:chgData name="Marco Soares" userId="d0da0a5a-bb2d-4628-9140-122d0f91b28a" providerId="ADAL" clId="{9C716D8F-8829-42BC-924A-3E53FBB2B216}" dt="2022-08-22T14:37:46.343" v="641" actId="700"/>
          <ac:spMkLst>
            <pc:docMk/>
            <pc:sldMk cId="44459664" sldId="297"/>
            <ac:spMk id="5" creationId="{282CC909-F36F-4E67-B197-7892A1BB2BDC}"/>
          </ac:spMkLst>
        </pc:spChg>
        <pc:picChg chg="add mod">
          <ac:chgData name="Marco Soares" userId="d0da0a5a-bb2d-4628-9140-122d0f91b28a" providerId="ADAL" clId="{9C716D8F-8829-42BC-924A-3E53FBB2B216}" dt="2022-08-22T14:09:28.119" v="107" actId="1076"/>
          <ac:picMkLst>
            <pc:docMk/>
            <pc:sldMk cId="44459664" sldId="297"/>
            <ac:picMk id="13" creationId="{A86CEE04-0CF4-4849-8163-01E80EDEF957}"/>
          </ac:picMkLst>
        </pc:picChg>
        <pc:picChg chg="del">
          <ac:chgData name="Marco Soares" userId="d0da0a5a-bb2d-4628-9140-122d0f91b28a" providerId="ADAL" clId="{9C716D8F-8829-42BC-924A-3E53FBB2B216}" dt="2022-08-22T14:09:25.040" v="105" actId="478"/>
          <ac:picMkLst>
            <pc:docMk/>
            <pc:sldMk cId="44459664" sldId="297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7:46.343" v="641" actId="700"/>
        <pc:sldMkLst>
          <pc:docMk/>
          <pc:sldMk cId="551663581" sldId="298"/>
        </pc:sldMkLst>
        <pc:spChg chg="add mod ord">
          <ac:chgData name="Marco Soares" userId="d0da0a5a-bb2d-4628-9140-122d0f91b28a" providerId="ADAL" clId="{9C716D8F-8829-42BC-924A-3E53FBB2B216}" dt="2022-08-22T14:37:46.343" v="641" actId="700"/>
          <ac:spMkLst>
            <pc:docMk/>
            <pc:sldMk cId="551663581" sldId="298"/>
            <ac:spMk id="2" creationId="{53251393-CBBE-434A-985E-4E9191C03F74}"/>
          </ac:spMkLst>
        </pc:spChg>
        <pc:spChg chg="add mod ord">
          <ac:chgData name="Marco Soares" userId="d0da0a5a-bb2d-4628-9140-122d0f91b28a" providerId="ADAL" clId="{9C716D8F-8829-42BC-924A-3E53FBB2B216}" dt="2022-08-22T14:37:46.343" v="641" actId="700"/>
          <ac:spMkLst>
            <pc:docMk/>
            <pc:sldMk cId="551663581" sldId="298"/>
            <ac:spMk id="3" creationId="{49DA6DE5-1EE5-46BE-9A0D-EFF7CED1305F}"/>
          </ac:spMkLst>
        </pc:spChg>
        <pc:spChg chg="add mod ord">
          <ac:chgData name="Marco Soares" userId="d0da0a5a-bb2d-4628-9140-122d0f91b28a" providerId="ADAL" clId="{9C716D8F-8829-42BC-924A-3E53FBB2B216}" dt="2022-08-22T14:37:46.343" v="641" actId="700"/>
          <ac:spMkLst>
            <pc:docMk/>
            <pc:sldMk cId="551663581" sldId="298"/>
            <ac:spMk id="5" creationId="{6F8C6570-2044-4CC3-A772-B5942935E82A}"/>
          </ac:spMkLst>
        </pc:spChg>
        <pc:picChg chg="add mod">
          <ac:chgData name="Marco Soares" userId="d0da0a5a-bb2d-4628-9140-122d0f91b28a" providerId="ADAL" clId="{9C716D8F-8829-42BC-924A-3E53FBB2B216}" dt="2022-08-22T14:09:34.182" v="110" actId="1076"/>
          <ac:picMkLst>
            <pc:docMk/>
            <pc:sldMk cId="551663581" sldId="298"/>
            <ac:picMk id="10" creationId="{E6103CED-5B61-4D18-9918-93B6A89CF7AC}"/>
          </ac:picMkLst>
        </pc:picChg>
        <pc:picChg chg="del">
          <ac:chgData name="Marco Soares" userId="d0da0a5a-bb2d-4628-9140-122d0f91b28a" providerId="ADAL" clId="{9C716D8F-8829-42BC-924A-3E53FBB2B216}" dt="2022-08-22T14:09:31.631" v="108" actId="478"/>
          <ac:picMkLst>
            <pc:docMk/>
            <pc:sldMk cId="551663581" sldId="298"/>
            <ac:picMk id="17" creationId="{191AA2AA-3A42-491E-B107-E8A92A9643B5}"/>
          </ac:picMkLst>
        </pc:picChg>
      </pc:sldChg>
      <pc:sldChg chg="addSp delSp modSp mod">
        <pc:chgData name="Marco Soares" userId="d0da0a5a-bb2d-4628-9140-122d0f91b28a" providerId="ADAL" clId="{9C716D8F-8829-42BC-924A-3E53FBB2B216}" dt="2022-08-22T14:05:41.319" v="51" actId="1076"/>
        <pc:sldMkLst>
          <pc:docMk/>
          <pc:sldMk cId="4076911289" sldId="299"/>
        </pc:sldMkLst>
        <pc:picChg chg="add mod">
          <ac:chgData name="Marco Soares" userId="d0da0a5a-bb2d-4628-9140-122d0f91b28a" providerId="ADAL" clId="{9C716D8F-8829-42BC-924A-3E53FBB2B216}" dt="2022-08-22T14:05:41.319" v="51" actId="1076"/>
          <ac:picMkLst>
            <pc:docMk/>
            <pc:sldMk cId="4076911289" sldId="299"/>
            <ac:picMk id="8" creationId="{4AC47B3E-95E4-4063-BD29-6BA3412F9442}"/>
          </ac:picMkLst>
        </pc:picChg>
        <pc:picChg chg="del">
          <ac:chgData name="Marco Soares" userId="d0da0a5a-bb2d-4628-9140-122d0f91b28a" providerId="ADAL" clId="{9C716D8F-8829-42BC-924A-3E53FBB2B216}" dt="2022-08-22T14:05:36.636" v="49" actId="478"/>
          <ac:picMkLst>
            <pc:docMk/>
            <pc:sldMk cId="4076911289" sldId="299"/>
            <ac:picMk id="17" creationId="{191AA2AA-3A42-491E-B107-E8A92A9643B5}"/>
          </ac:picMkLst>
        </pc:picChg>
      </pc:sldChg>
      <pc:sldChg chg="addSp delSp modSp mod">
        <pc:chgData name="Marco Soares" userId="d0da0a5a-bb2d-4628-9140-122d0f91b28a" providerId="ADAL" clId="{9C716D8F-8829-42BC-924A-3E53FBB2B216}" dt="2022-08-22T14:05:47.943" v="54" actId="1076"/>
        <pc:sldMkLst>
          <pc:docMk/>
          <pc:sldMk cId="1851178551" sldId="300"/>
        </pc:sldMkLst>
        <pc:picChg chg="add mod">
          <ac:chgData name="Marco Soares" userId="d0da0a5a-bb2d-4628-9140-122d0f91b28a" providerId="ADAL" clId="{9C716D8F-8829-42BC-924A-3E53FBB2B216}" dt="2022-08-22T14:05:47.943" v="54" actId="1076"/>
          <ac:picMkLst>
            <pc:docMk/>
            <pc:sldMk cId="1851178551" sldId="300"/>
            <ac:picMk id="8" creationId="{9489730A-98FE-4C39-85E0-D2807F6F6C9A}"/>
          </ac:picMkLst>
        </pc:picChg>
        <pc:picChg chg="del">
          <ac:chgData name="Marco Soares" userId="d0da0a5a-bb2d-4628-9140-122d0f91b28a" providerId="ADAL" clId="{9C716D8F-8829-42BC-924A-3E53FBB2B216}" dt="2022-08-22T14:05:45.173" v="52" actId="478"/>
          <ac:picMkLst>
            <pc:docMk/>
            <pc:sldMk cId="1851178551" sldId="300"/>
            <ac:picMk id="17" creationId="{191AA2AA-3A42-491E-B107-E8A92A9643B5}"/>
          </ac:picMkLst>
        </pc:picChg>
      </pc:sldChg>
      <pc:sldChg chg="addSp delSp modSp mod">
        <pc:chgData name="Marco Soares" userId="d0da0a5a-bb2d-4628-9140-122d0f91b28a" providerId="ADAL" clId="{9C716D8F-8829-42BC-924A-3E53FBB2B216}" dt="2022-08-22T14:05:54.863" v="57" actId="1076"/>
        <pc:sldMkLst>
          <pc:docMk/>
          <pc:sldMk cId="2129109806" sldId="301"/>
        </pc:sldMkLst>
        <pc:picChg chg="add mod">
          <ac:chgData name="Marco Soares" userId="d0da0a5a-bb2d-4628-9140-122d0f91b28a" providerId="ADAL" clId="{9C716D8F-8829-42BC-924A-3E53FBB2B216}" dt="2022-08-22T14:05:54.863" v="57" actId="1076"/>
          <ac:picMkLst>
            <pc:docMk/>
            <pc:sldMk cId="2129109806" sldId="301"/>
            <ac:picMk id="8" creationId="{9D0DE03D-9341-4837-BE33-821D620969A6}"/>
          </ac:picMkLst>
        </pc:picChg>
        <pc:picChg chg="del">
          <ac:chgData name="Marco Soares" userId="d0da0a5a-bb2d-4628-9140-122d0f91b28a" providerId="ADAL" clId="{9C716D8F-8829-42BC-924A-3E53FBB2B216}" dt="2022-08-22T14:05:52.350" v="55" actId="478"/>
          <ac:picMkLst>
            <pc:docMk/>
            <pc:sldMk cId="2129109806" sldId="301"/>
            <ac:picMk id="17" creationId="{191AA2AA-3A42-491E-B107-E8A92A9643B5}"/>
          </ac:picMkLst>
        </pc:picChg>
      </pc:sldChg>
      <pc:sldChg chg="addSp delSp modSp mod">
        <pc:chgData name="Marco Soares" userId="d0da0a5a-bb2d-4628-9140-122d0f91b28a" providerId="ADAL" clId="{9C716D8F-8829-42BC-924A-3E53FBB2B216}" dt="2022-08-22T14:06:01.242" v="60" actId="1076"/>
        <pc:sldMkLst>
          <pc:docMk/>
          <pc:sldMk cId="139641146" sldId="302"/>
        </pc:sldMkLst>
        <pc:picChg chg="add mod">
          <ac:chgData name="Marco Soares" userId="d0da0a5a-bb2d-4628-9140-122d0f91b28a" providerId="ADAL" clId="{9C716D8F-8829-42BC-924A-3E53FBB2B216}" dt="2022-08-22T14:06:01.242" v="60" actId="1076"/>
          <ac:picMkLst>
            <pc:docMk/>
            <pc:sldMk cId="139641146" sldId="302"/>
            <ac:picMk id="10" creationId="{14BDAF9E-4D70-4405-AFAF-9FBA46BB77B3}"/>
          </ac:picMkLst>
        </pc:picChg>
        <pc:picChg chg="del">
          <ac:chgData name="Marco Soares" userId="d0da0a5a-bb2d-4628-9140-122d0f91b28a" providerId="ADAL" clId="{9C716D8F-8829-42BC-924A-3E53FBB2B216}" dt="2022-08-22T14:05:58.183" v="58" actId="478"/>
          <ac:picMkLst>
            <pc:docMk/>
            <pc:sldMk cId="139641146" sldId="302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8:10.884" v="659" actId="700"/>
        <pc:sldMkLst>
          <pc:docMk/>
          <pc:sldMk cId="1035508244" sldId="303"/>
        </pc:sldMkLst>
        <pc:spChg chg="add mod ord">
          <ac:chgData name="Marco Soares" userId="d0da0a5a-bb2d-4628-9140-122d0f91b28a" providerId="ADAL" clId="{9C716D8F-8829-42BC-924A-3E53FBB2B216}" dt="2022-08-22T14:38:10.884" v="659" actId="700"/>
          <ac:spMkLst>
            <pc:docMk/>
            <pc:sldMk cId="1035508244" sldId="303"/>
            <ac:spMk id="2" creationId="{0F59D5C3-02C1-484F-A946-AAD075B36691}"/>
          </ac:spMkLst>
        </pc:spChg>
        <pc:spChg chg="add mod ord">
          <ac:chgData name="Marco Soares" userId="d0da0a5a-bb2d-4628-9140-122d0f91b28a" providerId="ADAL" clId="{9C716D8F-8829-42BC-924A-3E53FBB2B216}" dt="2022-08-22T14:38:10.884" v="659" actId="700"/>
          <ac:spMkLst>
            <pc:docMk/>
            <pc:sldMk cId="1035508244" sldId="303"/>
            <ac:spMk id="5" creationId="{85F1551E-74A6-42D0-8934-B682D0E4CCA1}"/>
          </ac:spMkLst>
        </pc:spChg>
        <pc:spChg chg="add mod ord">
          <ac:chgData name="Marco Soares" userId="d0da0a5a-bb2d-4628-9140-122d0f91b28a" providerId="ADAL" clId="{9C716D8F-8829-42BC-924A-3E53FBB2B216}" dt="2022-08-22T14:38:10.884" v="659" actId="700"/>
          <ac:spMkLst>
            <pc:docMk/>
            <pc:sldMk cId="1035508244" sldId="303"/>
            <ac:spMk id="7" creationId="{8FA43D56-DB30-4B32-9043-DE61E7A63095}"/>
          </ac:spMkLst>
        </pc:spChg>
        <pc:picChg chg="add mod">
          <ac:chgData name="Marco Soares" userId="d0da0a5a-bb2d-4628-9140-122d0f91b28a" providerId="ADAL" clId="{9C716D8F-8829-42BC-924A-3E53FBB2B216}" dt="2022-08-22T14:09:41.024" v="113" actId="1076"/>
          <ac:picMkLst>
            <pc:docMk/>
            <pc:sldMk cId="1035508244" sldId="303"/>
            <ac:picMk id="9" creationId="{766F0D31-BB0B-4A53-B576-CF1808FC5272}"/>
          </ac:picMkLst>
        </pc:picChg>
        <pc:picChg chg="del">
          <ac:chgData name="Marco Soares" userId="d0da0a5a-bb2d-4628-9140-122d0f91b28a" providerId="ADAL" clId="{9C716D8F-8829-42BC-924A-3E53FBB2B216}" dt="2022-08-22T14:09:37.149" v="111" actId="478"/>
          <ac:picMkLst>
            <pc:docMk/>
            <pc:sldMk cId="1035508244" sldId="303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5:55.370" v="558" actId="700"/>
        <pc:sldMkLst>
          <pc:docMk/>
          <pc:sldMk cId="1109895084" sldId="304"/>
        </pc:sldMkLst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1109895084" sldId="304"/>
            <ac:spMk id="2" creationId="{C799F4D6-875E-4E76-B456-DABC4AF3968D}"/>
          </ac:spMkLst>
        </pc:spChg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1109895084" sldId="304"/>
            <ac:spMk id="5" creationId="{2C5B950B-E281-4087-A518-5B3941F82B65}"/>
          </ac:spMkLst>
        </pc:spChg>
        <pc:spChg chg="add mod ord">
          <ac:chgData name="Marco Soares" userId="d0da0a5a-bb2d-4628-9140-122d0f91b28a" providerId="ADAL" clId="{9C716D8F-8829-42BC-924A-3E53FBB2B216}" dt="2022-08-22T14:35:55.370" v="558" actId="700"/>
          <ac:spMkLst>
            <pc:docMk/>
            <pc:sldMk cId="1109895084" sldId="304"/>
            <ac:spMk id="6" creationId="{94716325-4E81-4A9A-A8AF-4DE76C37CE7F}"/>
          </ac:spMkLst>
        </pc:spChg>
        <pc:picChg chg="add mod">
          <ac:chgData name="Marco Soares" userId="d0da0a5a-bb2d-4628-9140-122d0f91b28a" providerId="ADAL" clId="{9C716D8F-8829-42BC-924A-3E53FBB2B216}" dt="2022-08-22T14:06:42.776" v="75" actId="1076"/>
          <ac:picMkLst>
            <pc:docMk/>
            <pc:sldMk cId="1109895084" sldId="304"/>
            <ac:picMk id="10" creationId="{FFD36A93-2612-4884-B3EC-726979B44D61}"/>
          </ac:picMkLst>
        </pc:picChg>
        <pc:picChg chg="del">
          <ac:chgData name="Marco Soares" userId="d0da0a5a-bb2d-4628-9140-122d0f91b28a" providerId="ADAL" clId="{9C716D8F-8829-42BC-924A-3E53FBB2B216}" dt="2022-08-22T14:06:39.353" v="73" actId="478"/>
          <ac:picMkLst>
            <pc:docMk/>
            <pc:sldMk cId="1109895084" sldId="304"/>
            <ac:picMk id="17" creationId="{191AA2AA-3A42-491E-B107-E8A92A9643B5}"/>
          </ac:picMkLst>
        </pc:picChg>
      </pc:sldChg>
      <pc:sldChg chg="addSp modSp mod modClrScheme chgLayout">
        <pc:chgData name="Marco Soares" userId="d0da0a5a-bb2d-4628-9140-122d0f91b28a" providerId="ADAL" clId="{9C716D8F-8829-42BC-924A-3E53FBB2B216}" dt="2022-08-22T14:38:59.366" v="684" actId="700"/>
        <pc:sldMkLst>
          <pc:docMk/>
          <pc:sldMk cId="250671212" sldId="305"/>
        </pc:sldMkLst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250671212" sldId="305"/>
            <ac:spMk id="2" creationId="{0101CBB7-44FA-4581-916E-6B24B21192B3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250671212" sldId="305"/>
            <ac:spMk id="5" creationId="{ECB0ABDA-91A5-45DC-BCC5-B2FA6496F159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250671212" sldId="305"/>
            <ac:spMk id="7" creationId="{0A3DCBEA-01F8-4DC0-ACA1-102F9AC9CC97}"/>
          </ac:spMkLst>
        </pc:spChg>
      </pc:sldChg>
      <pc:sldChg chg="addSp modSp mod modClrScheme chgLayout">
        <pc:chgData name="Marco Soares" userId="d0da0a5a-bb2d-4628-9140-122d0f91b28a" providerId="ADAL" clId="{9C716D8F-8829-42BC-924A-3E53FBB2B216}" dt="2022-08-22T14:38:59.366" v="684" actId="700"/>
        <pc:sldMkLst>
          <pc:docMk/>
          <pc:sldMk cId="1728753006" sldId="306"/>
        </pc:sldMkLst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1728753006" sldId="306"/>
            <ac:spMk id="2" creationId="{4C8D00F9-74EE-48E8-A9D4-4A188C873487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1728753006" sldId="306"/>
            <ac:spMk id="5" creationId="{D724C85B-6F0C-4862-96FC-901478F72FC0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1728753006" sldId="306"/>
            <ac:spMk id="7" creationId="{AAC1B463-3917-4C0E-9F3F-49AAFED0472F}"/>
          </ac:spMkLst>
        </pc:spChg>
      </pc:sldChg>
      <pc:sldChg chg="addSp modSp mod modClrScheme chgLayout">
        <pc:chgData name="Marco Soares" userId="d0da0a5a-bb2d-4628-9140-122d0f91b28a" providerId="ADAL" clId="{9C716D8F-8829-42BC-924A-3E53FBB2B216}" dt="2022-08-22T14:38:59.366" v="684" actId="700"/>
        <pc:sldMkLst>
          <pc:docMk/>
          <pc:sldMk cId="3074453057" sldId="307"/>
        </pc:sldMkLst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3074453057" sldId="307"/>
            <ac:spMk id="2" creationId="{E4E5C407-277A-40AE-89EA-2C61BB9266F5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3074453057" sldId="307"/>
            <ac:spMk id="3" creationId="{13B248FC-2EA6-4D47-9136-19C2AED32648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3074453057" sldId="307"/>
            <ac:spMk id="5" creationId="{2F3F5B2E-1D77-4EA1-95CC-70A4537793F1}"/>
          </ac:spMkLst>
        </pc:spChg>
        <pc:picChg chg="add mod">
          <ac:chgData name="Marco Soares" userId="d0da0a5a-bb2d-4628-9140-122d0f91b28a" providerId="ADAL" clId="{9C716D8F-8829-42BC-924A-3E53FBB2B216}" dt="2022-08-22T14:10:06.559" v="120" actId="1076"/>
          <ac:picMkLst>
            <pc:docMk/>
            <pc:sldMk cId="3074453057" sldId="307"/>
            <ac:picMk id="11" creationId="{4DCA3DD2-EEB7-4495-861D-C6FF44C0BBEF}"/>
          </ac:picMkLst>
        </pc:picChg>
      </pc:sldChg>
      <pc:sldChg chg="addSp modSp mod modClrScheme chgLayout">
        <pc:chgData name="Marco Soares" userId="d0da0a5a-bb2d-4628-9140-122d0f91b28a" providerId="ADAL" clId="{9C716D8F-8829-42BC-924A-3E53FBB2B216}" dt="2022-08-22T14:38:59.366" v="684" actId="700"/>
        <pc:sldMkLst>
          <pc:docMk/>
          <pc:sldMk cId="1918096098" sldId="308"/>
        </pc:sldMkLst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1918096098" sldId="308"/>
            <ac:spMk id="2" creationId="{02EB7152-F039-4605-B1E5-564B25764ED8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1918096098" sldId="308"/>
            <ac:spMk id="5" creationId="{9C5D14A7-8CF3-490D-81BC-5699A35680CD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1918096098" sldId="308"/>
            <ac:spMk id="9" creationId="{C990ABD8-398D-4BFF-82E7-ED34AB862B00}"/>
          </ac:spMkLst>
        </pc:spChg>
        <pc:picChg chg="add mod">
          <ac:chgData name="Marco Soares" userId="d0da0a5a-bb2d-4628-9140-122d0f91b28a" providerId="ADAL" clId="{9C716D8F-8829-42BC-924A-3E53FBB2B216}" dt="2022-08-22T14:10:12.033" v="122" actId="1076"/>
          <ac:picMkLst>
            <pc:docMk/>
            <pc:sldMk cId="1918096098" sldId="308"/>
            <ac:picMk id="11" creationId="{B71FB26B-9E4B-45BF-8397-7E22BBBECE32}"/>
          </ac:picMkLst>
        </pc:picChg>
      </pc:sldChg>
      <pc:sldChg chg="addSp modSp mod modClrScheme chgLayout">
        <pc:chgData name="Marco Soares" userId="d0da0a5a-bb2d-4628-9140-122d0f91b28a" providerId="ADAL" clId="{9C716D8F-8829-42BC-924A-3E53FBB2B216}" dt="2022-08-22T14:38:59.366" v="684" actId="700"/>
        <pc:sldMkLst>
          <pc:docMk/>
          <pc:sldMk cId="3506819097" sldId="309"/>
        </pc:sldMkLst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3506819097" sldId="309"/>
            <ac:spMk id="3" creationId="{41A7616E-3BE4-4E49-80B6-6BFA27E02B29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3506819097" sldId="309"/>
            <ac:spMk id="5" creationId="{02C8DC7B-853A-4ED0-88BB-13A05560DE6F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3506819097" sldId="309"/>
            <ac:spMk id="7" creationId="{E7844D59-DBA8-47C9-ABA0-FE2083AC71F2}"/>
          </ac:spMkLst>
        </pc:spChg>
        <pc:picChg chg="add mod">
          <ac:chgData name="Marco Soares" userId="d0da0a5a-bb2d-4628-9140-122d0f91b28a" providerId="ADAL" clId="{9C716D8F-8829-42BC-924A-3E53FBB2B216}" dt="2022-08-22T14:10:16.914" v="124" actId="1076"/>
          <ac:picMkLst>
            <pc:docMk/>
            <pc:sldMk cId="3506819097" sldId="309"/>
            <ac:picMk id="6" creationId="{A4455C45-67D1-4625-893B-6C9375CD9C51}"/>
          </ac:picMkLst>
        </pc:picChg>
      </pc:sldChg>
      <pc:sldChg chg="addSp modSp mod modClrScheme chgLayout">
        <pc:chgData name="Marco Soares" userId="d0da0a5a-bb2d-4628-9140-122d0f91b28a" providerId="ADAL" clId="{9C716D8F-8829-42BC-924A-3E53FBB2B216}" dt="2022-08-22T14:38:59.366" v="684" actId="700"/>
        <pc:sldMkLst>
          <pc:docMk/>
          <pc:sldMk cId="2238641553" sldId="310"/>
        </pc:sldMkLst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2238641553" sldId="310"/>
            <ac:spMk id="2" creationId="{4794FFE0-9372-45A8-8FED-D60939E4A8FC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2238641553" sldId="310"/>
            <ac:spMk id="3" creationId="{868161E4-8179-4C18-AA3D-4C2CEF525A1F}"/>
          </ac:spMkLst>
        </pc:spChg>
        <pc:spChg chg="add mod ord">
          <ac:chgData name="Marco Soares" userId="d0da0a5a-bb2d-4628-9140-122d0f91b28a" providerId="ADAL" clId="{9C716D8F-8829-42BC-924A-3E53FBB2B216}" dt="2022-08-22T14:38:59.366" v="684" actId="700"/>
          <ac:spMkLst>
            <pc:docMk/>
            <pc:sldMk cId="2238641553" sldId="310"/>
            <ac:spMk id="5" creationId="{F3611197-22C9-4AD7-9B14-A206B79F63EF}"/>
          </ac:spMkLst>
        </pc:spChg>
        <pc:picChg chg="add mod">
          <ac:chgData name="Marco Soares" userId="d0da0a5a-bb2d-4628-9140-122d0f91b28a" providerId="ADAL" clId="{9C716D8F-8829-42BC-924A-3E53FBB2B216}" dt="2022-08-22T14:10:22.624" v="126" actId="1076"/>
          <ac:picMkLst>
            <pc:docMk/>
            <pc:sldMk cId="2238641553" sldId="310"/>
            <ac:picMk id="9" creationId="{D9B3D0B3-F148-4C2A-B560-38456F41E1FF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8:10.884" v="659" actId="700"/>
        <pc:sldMkLst>
          <pc:docMk/>
          <pc:sldMk cId="345468716" sldId="311"/>
        </pc:sldMkLst>
        <pc:spChg chg="add mod ord">
          <ac:chgData name="Marco Soares" userId="d0da0a5a-bb2d-4628-9140-122d0f91b28a" providerId="ADAL" clId="{9C716D8F-8829-42BC-924A-3E53FBB2B216}" dt="2022-08-22T14:38:10.884" v="659" actId="700"/>
          <ac:spMkLst>
            <pc:docMk/>
            <pc:sldMk cId="345468716" sldId="311"/>
            <ac:spMk id="3" creationId="{B8C2EBBF-9F5A-4501-9D61-79689EDA2650}"/>
          </ac:spMkLst>
        </pc:spChg>
        <pc:spChg chg="add mod ord">
          <ac:chgData name="Marco Soares" userId="d0da0a5a-bb2d-4628-9140-122d0f91b28a" providerId="ADAL" clId="{9C716D8F-8829-42BC-924A-3E53FBB2B216}" dt="2022-08-22T14:38:10.884" v="659" actId="700"/>
          <ac:spMkLst>
            <pc:docMk/>
            <pc:sldMk cId="345468716" sldId="311"/>
            <ac:spMk id="8" creationId="{38E08B49-77A0-4C2D-A9C6-1F85DDA2BC1C}"/>
          </ac:spMkLst>
        </pc:spChg>
        <pc:spChg chg="add mod ord">
          <ac:chgData name="Marco Soares" userId="d0da0a5a-bb2d-4628-9140-122d0f91b28a" providerId="ADAL" clId="{9C716D8F-8829-42BC-924A-3E53FBB2B216}" dt="2022-08-22T14:38:10.884" v="659" actId="700"/>
          <ac:spMkLst>
            <pc:docMk/>
            <pc:sldMk cId="345468716" sldId="311"/>
            <ac:spMk id="9" creationId="{811A59D0-2152-4C67-B5FE-4329D79E8B32}"/>
          </ac:spMkLst>
        </pc:spChg>
        <pc:picChg chg="add mod">
          <ac:chgData name="Marco Soares" userId="d0da0a5a-bb2d-4628-9140-122d0f91b28a" providerId="ADAL" clId="{9C716D8F-8829-42BC-924A-3E53FBB2B216}" dt="2022-08-22T14:09:55.358" v="118" actId="1076"/>
          <ac:picMkLst>
            <pc:docMk/>
            <pc:sldMk cId="345468716" sldId="311"/>
            <ac:picMk id="14" creationId="{60054585-0C22-4704-93B0-B1C638E4011C}"/>
          </ac:picMkLst>
        </pc:picChg>
        <pc:picChg chg="del mod">
          <ac:chgData name="Marco Soares" userId="d0da0a5a-bb2d-4628-9140-122d0f91b28a" providerId="ADAL" clId="{9C716D8F-8829-42BC-924A-3E53FBB2B216}" dt="2022-08-22T14:09:47.493" v="115" actId="478"/>
          <ac:picMkLst>
            <pc:docMk/>
            <pc:sldMk cId="345468716" sldId="311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9:36.636" v="706" actId="700"/>
        <pc:sldMkLst>
          <pc:docMk/>
          <pc:sldMk cId="3887127161" sldId="312"/>
        </pc:sldMkLst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3887127161" sldId="312"/>
            <ac:spMk id="10" creationId="{50F039D4-7514-4A87-AC5E-6F8EB5DAD8A8}"/>
          </ac:spMkLst>
        </pc:spChg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3887127161" sldId="312"/>
            <ac:spMk id="11" creationId="{C568341E-0DBF-47AE-A8A0-0CA1FCEBC589}"/>
          </ac:spMkLst>
        </pc:spChg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3887127161" sldId="312"/>
            <ac:spMk id="12" creationId="{C4F616D3-3F00-42FE-9085-69C2E0D8C359}"/>
          </ac:spMkLst>
        </pc:spChg>
        <pc:picChg chg="add mod">
          <ac:chgData name="Marco Soares" userId="d0da0a5a-bb2d-4628-9140-122d0f91b28a" providerId="ADAL" clId="{9C716D8F-8829-42BC-924A-3E53FBB2B216}" dt="2022-08-22T14:10:35.423" v="132" actId="1076"/>
          <ac:picMkLst>
            <pc:docMk/>
            <pc:sldMk cId="3887127161" sldId="312"/>
            <ac:picMk id="14" creationId="{8500C230-FE9A-4C6C-A83D-608C361604FF}"/>
          </ac:picMkLst>
        </pc:picChg>
        <pc:picChg chg="del">
          <ac:chgData name="Marco Soares" userId="d0da0a5a-bb2d-4628-9140-122d0f91b28a" providerId="ADAL" clId="{9C716D8F-8829-42BC-924A-3E53FBB2B216}" dt="2022-08-22T14:10:32.521" v="130" actId="478"/>
          <ac:picMkLst>
            <pc:docMk/>
            <pc:sldMk cId="3887127161" sldId="312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9:36.636" v="706" actId="700"/>
        <pc:sldMkLst>
          <pc:docMk/>
          <pc:sldMk cId="2578459873" sldId="313"/>
        </pc:sldMkLst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2578459873" sldId="313"/>
            <ac:spMk id="2" creationId="{1471D58D-C159-4F3B-B76D-0DCAE38DEBDA}"/>
          </ac:spMkLst>
        </pc:spChg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2578459873" sldId="313"/>
            <ac:spMk id="3" creationId="{57EBC741-0B32-4BF0-83B3-C76A5EB33E31}"/>
          </ac:spMkLst>
        </pc:spChg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2578459873" sldId="313"/>
            <ac:spMk id="5" creationId="{7508AAA0-EBE7-4B6E-A2BE-B71932571D0B}"/>
          </ac:spMkLst>
        </pc:spChg>
        <pc:picChg chg="add mod">
          <ac:chgData name="Marco Soares" userId="d0da0a5a-bb2d-4628-9140-122d0f91b28a" providerId="ADAL" clId="{9C716D8F-8829-42BC-924A-3E53FBB2B216}" dt="2022-08-22T14:10:41.646" v="135" actId="1076"/>
          <ac:picMkLst>
            <pc:docMk/>
            <pc:sldMk cId="2578459873" sldId="313"/>
            <ac:picMk id="7" creationId="{771FCFBF-4902-4C84-BD1F-DF9EE6B5F8DF}"/>
          </ac:picMkLst>
        </pc:picChg>
        <pc:picChg chg="del">
          <ac:chgData name="Marco Soares" userId="d0da0a5a-bb2d-4628-9140-122d0f91b28a" providerId="ADAL" clId="{9C716D8F-8829-42BC-924A-3E53FBB2B216}" dt="2022-08-22T14:10:38.489" v="133" actId="478"/>
          <ac:picMkLst>
            <pc:docMk/>
            <pc:sldMk cId="2578459873" sldId="313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9:36.636" v="706" actId="700"/>
        <pc:sldMkLst>
          <pc:docMk/>
          <pc:sldMk cId="3135686382" sldId="314"/>
        </pc:sldMkLst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3135686382" sldId="314"/>
            <ac:spMk id="2" creationId="{D863939F-4613-4D73-93D6-BF6D16BCAEB5}"/>
          </ac:spMkLst>
        </pc:spChg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3135686382" sldId="314"/>
            <ac:spMk id="3" creationId="{36B7FEE9-0C82-4552-B257-AB9EA5007485}"/>
          </ac:spMkLst>
        </pc:spChg>
        <pc:spChg chg="add mod ord">
          <ac:chgData name="Marco Soares" userId="d0da0a5a-bb2d-4628-9140-122d0f91b28a" providerId="ADAL" clId="{9C716D8F-8829-42BC-924A-3E53FBB2B216}" dt="2022-08-22T14:39:36.636" v="706" actId="700"/>
          <ac:spMkLst>
            <pc:docMk/>
            <pc:sldMk cId="3135686382" sldId="314"/>
            <ac:spMk id="5" creationId="{AA29C41A-802A-4C54-9705-8202C97843CA}"/>
          </ac:spMkLst>
        </pc:spChg>
        <pc:picChg chg="add mod">
          <ac:chgData name="Marco Soares" userId="d0da0a5a-bb2d-4628-9140-122d0f91b28a" providerId="ADAL" clId="{9C716D8F-8829-42BC-924A-3E53FBB2B216}" dt="2022-08-22T14:10:46.170" v="137"/>
          <ac:picMkLst>
            <pc:docMk/>
            <pc:sldMk cId="3135686382" sldId="314"/>
            <ac:picMk id="15" creationId="{BB338CCC-B818-466C-A1C3-4A04B0B49CFA}"/>
          </ac:picMkLst>
        </pc:picChg>
        <pc:picChg chg="del">
          <ac:chgData name="Marco Soares" userId="d0da0a5a-bb2d-4628-9140-122d0f91b28a" providerId="ADAL" clId="{9C716D8F-8829-42BC-924A-3E53FBB2B216}" dt="2022-08-22T14:10:45.108" v="136" actId="478"/>
          <ac:picMkLst>
            <pc:docMk/>
            <pc:sldMk cId="3135686382" sldId="314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9:48.975" v="707" actId="700"/>
        <pc:sldMkLst>
          <pc:docMk/>
          <pc:sldMk cId="910491148" sldId="315"/>
        </pc:sldMkLst>
        <pc:spChg chg="add mod ord">
          <ac:chgData name="Marco Soares" userId="d0da0a5a-bb2d-4628-9140-122d0f91b28a" providerId="ADAL" clId="{9C716D8F-8829-42BC-924A-3E53FBB2B216}" dt="2022-08-22T14:39:48.975" v="707" actId="700"/>
          <ac:spMkLst>
            <pc:docMk/>
            <pc:sldMk cId="910491148" sldId="315"/>
            <ac:spMk id="2" creationId="{DF969731-12A1-453D-B6EC-92DFFCBE3EC4}"/>
          </ac:spMkLst>
        </pc:spChg>
        <pc:spChg chg="add mod ord">
          <ac:chgData name="Marco Soares" userId="d0da0a5a-bb2d-4628-9140-122d0f91b28a" providerId="ADAL" clId="{9C716D8F-8829-42BC-924A-3E53FBB2B216}" dt="2022-08-22T14:39:48.975" v="707" actId="700"/>
          <ac:spMkLst>
            <pc:docMk/>
            <pc:sldMk cId="910491148" sldId="315"/>
            <ac:spMk id="3" creationId="{6C6BB656-93B7-4453-BBD1-23BFA544AA18}"/>
          </ac:spMkLst>
        </pc:spChg>
        <pc:spChg chg="add mod ord">
          <ac:chgData name="Marco Soares" userId="d0da0a5a-bb2d-4628-9140-122d0f91b28a" providerId="ADAL" clId="{9C716D8F-8829-42BC-924A-3E53FBB2B216}" dt="2022-08-22T14:39:48.975" v="707" actId="700"/>
          <ac:spMkLst>
            <pc:docMk/>
            <pc:sldMk cId="910491148" sldId="315"/>
            <ac:spMk id="5" creationId="{1CD1CDD9-C098-41BE-858A-205134E46F11}"/>
          </ac:spMkLst>
        </pc:spChg>
        <pc:picChg chg="add mod">
          <ac:chgData name="Marco Soares" userId="d0da0a5a-bb2d-4628-9140-122d0f91b28a" providerId="ADAL" clId="{9C716D8F-8829-42BC-924A-3E53FBB2B216}" dt="2022-08-22T14:10:53.382" v="140" actId="1076"/>
          <ac:picMkLst>
            <pc:docMk/>
            <pc:sldMk cId="910491148" sldId="315"/>
            <ac:picMk id="7" creationId="{8A11CA7A-7A7B-41B6-BB09-3F9308BE9FE6}"/>
          </ac:picMkLst>
        </pc:picChg>
        <pc:picChg chg="del">
          <ac:chgData name="Marco Soares" userId="d0da0a5a-bb2d-4628-9140-122d0f91b28a" providerId="ADAL" clId="{9C716D8F-8829-42BC-924A-3E53FBB2B216}" dt="2022-08-22T14:10:50.830" v="138" actId="478"/>
          <ac:picMkLst>
            <pc:docMk/>
            <pc:sldMk cId="910491148" sldId="315"/>
            <ac:picMk id="17" creationId="{191AA2AA-3A42-491E-B107-E8A92A9643B5}"/>
          </ac:picMkLst>
        </pc:picChg>
      </pc:sldChg>
      <pc:sldChg chg="addSp delSp modSp mod modClrScheme chgLayout">
        <pc:chgData name="Marco Soares" userId="d0da0a5a-bb2d-4628-9140-122d0f91b28a" providerId="ADAL" clId="{9C716D8F-8829-42BC-924A-3E53FBB2B216}" dt="2022-08-22T14:39:48.975" v="707" actId="700"/>
        <pc:sldMkLst>
          <pc:docMk/>
          <pc:sldMk cId="107169246" sldId="316"/>
        </pc:sldMkLst>
        <pc:spChg chg="add mod ord">
          <ac:chgData name="Marco Soares" userId="d0da0a5a-bb2d-4628-9140-122d0f91b28a" providerId="ADAL" clId="{9C716D8F-8829-42BC-924A-3E53FBB2B216}" dt="2022-08-22T14:39:48.975" v="707" actId="700"/>
          <ac:spMkLst>
            <pc:docMk/>
            <pc:sldMk cId="107169246" sldId="316"/>
            <ac:spMk id="2" creationId="{78DDA1A6-394A-4A2A-81FB-4A870B7D63C2}"/>
          </ac:spMkLst>
        </pc:spChg>
        <pc:spChg chg="add mod ord">
          <ac:chgData name="Marco Soares" userId="d0da0a5a-bb2d-4628-9140-122d0f91b28a" providerId="ADAL" clId="{9C716D8F-8829-42BC-924A-3E53FBB2B216}" dt="2022-08-22T14:39:48.975" v="707" actId="700"/>
          <ac:spMkLst>
            <pc:docMk/>
            <pc:sldMk cId="107169246" sldId="316"/>
            <ac:spMk id="3" creationId="{8C0DF68A-D0E4-451B-81CE-9C892363BBAB}"/>
          </ac:spMkLst>
        </pc:spChg>
        <pc:spChg chg="add mod ord">
          <ac:chgData name="Marco Soares" userId="d0da0a5a-bb2d-4628-9140-122d0f91b28a" providerId="ADAL" clId="{9C716D8F-8829-42BC-924A-3E53FBB2B216}" dt="2022-08-22T14:39:48.975" v="707" actId="700"/>
          <ac:spMkLst>
            <pc:docMk/>
            <pc:sldMk cId="107169246" sldId="316"/>
            <ac:spMk id="5" creationId="{2CA2BB39-82CA-4C3C-A36A-9FFC8E277672}"/>
          </ac:spMkLst>
        </pc:spChg>
        <pc:picChg chg="add mod">
          <ac:chgData name="Marco Soares" userId="d0da0a5a-bb2d-4628-9140-122d0f91b28a" providerId="ADAL" clId="{9C716D8F-8829-42BC-924A-3E53FBB2B216}" dt="2022-08-22T14:10:59.334" v="143" actId="1076"/>
          <ac:picMkLst>
            <pc:docMk/>
            <pc:sldMk cId="107169246" sldId="316"/>
            <ac:picMk id="7" creationId="{3BBB6922-DB28-4996-904B-C85A57D45A55}"/>
          </ac:picMkLst>
        </pc:picChg>
        <pc:picChg chg="del">
          <ac:chgData name="Marco Soares" userId="d0da0a5a-bb2d-4628-9140-122d0f91b28a" providerId="ADAL" clId="{9C716D8F-8829-42BC-924A-3E53FBB2B216}" dt="2022-08-22T14:10:56.046" v="141" actId="478"/>
          <ac:picMkLst>
            <pc:docMk/>
            <pc:sldMk cId="107169246" sldId="316"/>
            <ac:picMk id="17" creationId="{191AA2AA-3A42-491E-B107-E8A92A9643B5}"/>
          </ac:picMkLst>
        </pc:picChg>
      </pc:sldChg>
      <pc:sldChg chg="addSp delSp modSp new mod modClrScheme chgLayout">
        <pc:chgData name="Marco Soares" userId="d0da0a5a-bb2d-4628-9140-122d0f91b28a" providerId="ADAL" clId="{9C716D8F-8829-42BC-924A-3E53FBB2B216}" dt="2022-08-22T14:30:01.335" v="372" actId="478"/>
        <pc:sldMkLst>
          <pc:docMk/>
          <pc:sldMk cId="310242292" sldId="317"/>
        </pc:sldMkLst>
        <pc:spChg chg="del mod ord">
          <ac:chgData name="Marco Soares" userId="d0da0a5a-bb2d-4628-9140-122d0f91b28a" providerId="ADAL" clId="{9C716D8F-8829-42BC-924A-3E53FBB2B216}" dt="2022-08-22T14:29:47.311" v="364" actId="700"/>
          <ac:spMkLst>
            <pc:docMk/>
            <pc:sldMk cId="310242292" sldId="317"/>
            <ac:spMk id="2" creationId="{DE746DA9-6223-4C8A-B345-BACA5DA5CCAC}"/>
          </ac:spMkLst>
        </pc:spChg>
        <pc:spChg chg="del mod ord">
          <ac:chgData name="Marco Soares" userId="d0da0a5a-bb2d-4628-9140-122d0f91b28a" providerId="ADAL" clId="{9C716D8F-8829-42BC-924A-3E53FBB2B216}" dt="2022-08-22T14:29:47.311" v="364" actId="700"/>
          <ac:spMkLst>
            <pc:docMk/>
            <pc:sldMk cId="310242292" sldId="317"/>
            <ac:spMk id="3" creationId="{6CA8AA59-C52C-4B2D-8F61-4BB178A376BC}"/>
          </ac:spMkLst>
        </pc:spChg>
        <pc:spChg chg="del">
          <ac:chgData name="Marco Soares" userId="d0da0a5a-bb2d-4628-9140-122d0f91b28a" providerId="ADAL" clId="{9C716D8F-8829-42BC-924A-3E53FBB2B216}" dt="2022-08-22T14:29:47.311" v="364" actId="700"/>
          <ac:spMkLst>
            <pc:docMk/>
            <pc:sldMk cId="310242292" sldId="317"/>
            <ac:spMk id="4" creationId="{7F9C2FD7-9D32-43F8-8E13-B8A91FE10B3F}"/>
          </ac:spMkLst>
        </pc:spChg>
        <pc:spChg chg="del">
          <ac:chgData name="Marco Soares" userId="d0da0a5a-bb2d-4628-9140-122d0f91b28a" providerId="ADAL" clId="{9C716D8F-8829-42BC-924A-3E53FBB2B216}" dt="2022-08-22T14:29:47.311" v="364" actId="700"/>
          <ac:spMkLst>
            <pc:docMk/>
            <pc:sldMk cId="310242292" sldId="317"/>
            <ac:spMk id="5" creationId="{4B549D56-D360-47F3-BE98-27BADF01170E}"/>
          </ac:spMkLst>
        </pc:spChg>
        <pc:spChg chg="add mod ord">
          <ac:chgData name="Marco Soares" userId="d0da0a5a-bb2d-4628-9140-122d0f91b28a" providerId="ADAL" clId="{9C716D8F-8829-42BC-924A-3E53FBB2B216}" dt="2022-08-22T14:29:58.711" v="371" actId="26606"/>
          <ac:spMkLst>
            <pc:docMk/>
            <pc:sldMk cId="310242292" sldId="317"/>
            <ac:spMk id="6" creationId="{D9F1196F-87AA-446C-8C01-29A90D789E96}"/>
          </ac:spMkLst>
        </pc:spChg>
        <pc:spChg chg="add del mod ord">
          <ac:chgData name="Marco Soares" userId="d0da0a5a-bb2d-4628-9140-122d0f91b28a" providerId="ADAL" clId="{9C716D8F-8829-42BC-924A-3E53FBB2B216}" dt="2022-08-22T14:29:54.233" v="370" actId="478"/>
          <ac:spMkLst>
            <pc:docMk/>
            <pc:sldMk cId="310242292" sldId="317"/>
            <ac:spMk id="7" creationId="{FF318832-1AFF-4692-8776-9A81FD24F10F}"/>
          </ac:spMkLst>
        </pc:spChg>
        <pc:spChg chg="add del mod">
          <ac:chgData name="Marco Soares" userId="d0da0a5a-bb2d-4628-9140-122d0f91b28a" providerId="ADAL" clId="{9C716D8F-8829-42BC-924A-3E53FBB2B216}" dt="2022-08-22T14:30:01.335" v="372" actId="478"/>
          <ac:spMkLst>
            <pc:docMk/>
            <pc:sldMk cId="310242292" sldId="317"/>
            <ac:spMk id="11" creationId="{350C15F7-AF41-E2D2-E26C-AD8C7EAA9926}"/>
          </ac:spMkLst>
        </pc:spChg>
      </pc:sldChg>
      <pc:sldChg chg="modSp add mod ord">
        <pc:chgData name="Marco Soares" userId="d0da0a5a-bb2d-4628-9140-122d0f91b28a" providerId="ADAL" clId="{9C716D8F-8829-42BC-924A-3E53FBB2B216}" dt="2022-08-22T14:31:58.078" v="393" actId="1076"/>
        <pc:sldMkLst>
          <pc:docMk/>
          <pc:sldMk cId="6470172" sldId="318"/>
        </pc:sldMkLst>
        <pc:spChg chg="mod">
          <ac:chgData name="Marco Soares" userId="d0da0a5a-bb2d-4628-9140-122d0f91b28a" providerId="ADAL" clId="{9C716D8F-8829-42BC-924A-3E53FBB2B216}" dt="2022-08-22T14:31:58.078" v="393" actId="1076"/>
          <ac:spMkLst>
            <pc:docMk/>
            <pc:sldMk cId="6470172" sldId="318"/>
            <ac:spMk id="6" creationId="{D9F1196F-87AA-446C-8C01-29A90D789E96}"/>
          </ac:spMkLst>
        </pc:spChg>
      </pc:sldChg>
      <pc:sldChg chg="modSp add mod">
        <pc:chgData name="Marco Soares" userId="d0da0a5a-bb2d-4628-9140-122d0f91b28a" providerId="ADAL" clId="{9C716D8F-8829-42BC-924A-3E53FBB2B216}" dt="2022-08-22T14:32:37.610" v="427" actId="14100"/>
        <pc:sldMkLst>
          <pc:docMk/>
          <pc:sldMk cId="1769659773" sldId="319"/>
        </pc:sldMkLst>
        <pc:spChg chg="mod">
          <ac:chgData name="Marco Soares" userId="d0da0a5a-bb2d-4628-9140-122d0f91b28a" providerId="ADAL" clId="{9C716D8F-8829-42BC-924A-3E53FBB2B216}" dt="2022-08-22T14:32:37.610" v="427" actId="14100"/>
          <ac:spMkLst>
            <pc:docMk/>
            <pc:sldMk cId="1769659773" sldId="319"/>
            <ac:spMk id="6" creationId="{D9F1196F-87AA-446C-8C01-29A90D789E96}"/>
          </ac:spMkLst>
        </pc:spChg>
      </pc:sldChg>
      <pc:sldChg chg="modSp add mod">
        <pc:chgData name="Marco Soares" userId="d0da0a5a-bb2d-4628-9140-122d0f91b28a" providerId="ADAL" clId="{9C716D8F-8829-42BC-924A-3E53FBB2B216}" dt="2022-08-22T14:34:04.253" v="480" actId="14100"/>
        <pc:sldMkLst>
          <pc:docMk/>
          <pc:sldMk cId="547162290" sldId="320"/>
        </pc:sldMkLst>
        <pc:spChg chg="mod">
          <ac:chgData name="Marco Soares" userId="d0da0a5a-bb2d-4628-9140-122d0f91b28a" providerId="ADAL" clId="{9C716D8F-8829-42BC-924A-3E53FBB2B216}" dt="2022-08-22T14:34:04.253" v="480" actId="14100"/>
          <ac:spMkLst>
            <pc:docMk/>
            <pc:sldMk cId="547162290" sldId="320"/>
            <ac:spMk id="6" creationId="{D9F1196F-87AA-446C-8C01-29A90D789E96}"/>
          </ac:spMkLst>
        </pc:spChg>
      </pc:sldChg>
      <pc:sldChg chg="modSp add mod">
        <pc:chgData name="Marco Soares" userId="d0da0a5a-bb2d-4628-9140-122d0f91b28a" providerId="ADAL" clId="{9C716D8F-8829-42BC-924A-3E53FBB2B216}" dt="2022-08-22T14:35:09.623" v="536" actId="27636"/>
        <pc:sldMkLst>
          <pc:docMk/>
          <pc:sldMk cId="4212108751" sldId="321"/>
        </pc:sldMkLst>
        <pc:spChg chg="mod">
          <ac:chgData name="Marco Soares" userId="d0da0a5a-bb2d-4628-9140-122d0f91b28a" providerId="ADAL" clId="{9C716D8F-8829-42BC-924A-3E53FBB2B216}" dt="2022-08-22T14:35:09.623" v="536" actId="27636"/>
          <ac:spMkLst>
            <pc:docMk/>
            <pc:sldMk cId="4212108751" sldId="321"/>
            <ac:spMk id="6" creationId="{D9F1196F-87AA-446C-8C01-29A90D789E96}"/>
          </ac:spMkLst>
        </pc:spChg>
      </pc:sldChg>
      <pc:sldChg chg="modSp add mod">
        <pc:chgData name="Marco Soares" userId="d0da0a5a-bb2d-4628-9140-122d0f91b28a" providerId="ADAL" clId="{9C716D8F-8829-42BC-924A-3E53FBB2B216}" dt="2022-08-22T14:35:46.696" v="557" actId="14100"/>
        <pc:sldMkLst>
          <pc:docMk/>
          <pc:sldMk cId="1795646068" sldId="322"/>
        </pc:sldMkLst>
        <pc:spChg chg="mod">
          <ac:chgData name="Marco Soares" userId="d0da0a5a-bb2d-4628-9140-122d0f91b28a" providerId="ADAL" clId="{9C716D8F-8829-42BC-924A-3E53FBB2B216}" dt="2022-08-22T14:35:46.696" v="557" actId="14100"/>
          <ac:spMkLst>
            <pc:docMk/>
            <pc:sldMk cId="1795646068" sldId="322"/>
            <ac:spMk id="6" creationId="{D9F1196F-87AA-446C-8C01-29A90D789E96}"/>
          </ac:spMkLst>
        </pc:spChg>
      </pc:sldChg>
      <pc:sldChg chg="modSp add mod ord">
        <pc:chgData name="Marco Soares" userId="d0da0a5a-bb2d-4628-9140-122d0f91b28a" providerId="ADAL" clId="{9C716D8F-8829-42BC-924A-3E53FBB2B216}" dt="2022-08-22T14:36:32.702" v="589" actId="20577"/>
        <pc:sldMkLst>
          <pc:docMk/>
          <pc:sldMk cId="108205304" sldId="323"/>
        </pc:sldMkLst>
        <pc:spChg chg="mod">
          <ac:chgData name="Marco Soares" userId="d0da0a5a-bb2d-4628-9140-122d0f91b28a" providerId="ADAL" clId="{9C716D8F-8829-42BC-924A-3E53FBB2B216}" dt="2022-08-22T14:36:32.702" v="589" actId="20577"/>
          <ac:spMkLst>
            <pc:docMk/>
            <pc:sldMk cId="108205304" sldId="323"/>
            <ac:spMk id="6" creationId="{D9F1196F-87AA-446C-8C01-29A90D789E96}"/>
          </ac:spMkLst>
        </pc:spChg>
      </pc:sldChg>
      <pc:sldChg chg="modSp add mod">
        <pc:chgData name="Marco Soares" userId="d0da0a5a-bb2d-4628-9140-122d0f91b28a" providerId="ADAL" clId="{9C716D8F-8829-42BC-924A-3E53FBB2B216}" dt="2022-08-22T14:37:08.682" v="616" actId="20577"/>
        <pc:sldMkLst>
          <pc:docMk/>
          <pc:sldMk cId="3920282659" sldId="324"/>
        </pc:sldMkLst>
        <pc:spChg chg="mod">
          <ac:chgData name="Marco Soares" userId="d0da0a5a-bb2d-4628-9140-122d0f91b28a" providerId="ADAL" clId="{9C716D8F-8829-42BC-924A-3E53FBB2B216}" dt="2022-08-22T14:37:08.682" v="616" actId="20577"/>
          <ac:spMkLst>
            <pc:docMk/>
            <pc:sldMk cId="3920282659" sldId="324"/>
            <ac:spMk id="6" creationId="{D9F1196F-87AA-446C-8C01-29A90D789E96}"/>
          </ac:spMkLst>
        </pc:spChg>
      </pc:sldChg>
      <pc:sldChg chg="modSp add mod">
        <pc:chgData name="Marco Soares" userId="d0da0a5a-bb2d-4628-9140-122d0f91b28a" providerId="ADAL" clId="{9C716D8F-8829-42BC-924A-3E53FBB2B216}" dt="2022-08-22T14:37:36.907" v="640" actId="20577"/>
        <pc:sldMkLst>
          <pc:docMk/>
          <pc:sldMk cId="787113038" sldId="325"/>
        </pc:sldMkLst>
        <pc:spChg chg="mod">
          <ac:chgData name="Marco Soares" userId="d0da0a5a-bb2d-4628-9140-122d0f91b28a" providerId="ADAL" clId="{9C716D8F-8829-42BC-924A-3E53FBB2B216}" dt="2022-08-22T14:37:36.907" v="640" actId="20577"/>
          <ac:spMkLst>
            <pc:docMk/>
            <pc:sldMk cId="787113038" sldId="325"/>
            <ac:spMk id="6" creationId="{D9F1196F-87AA-446C-8C01-29A90D789E96}"/>
          </ac:spMkLst>
        </pc:spChg>
      </pc:sldChg>
      <pc:sldChg chg="modSp add mod">
        <pc:chgData name="Marco Soares" userId="d0da0a5a-bb2d-4628-9140-122d0f91b28a" providerId="ADAL" clId="{9C716D8F-8829-42BC-924A-3E53FBB2B216}" dt="2022-08-22T14:38:06.050" v="658" actId="20577"/>
        <pc:sldMkLst>
          <pc:docMk/>
          <pc:sldMk cId="223555657" sldId="326"/>
        </pc:sldMkLst>
        <pc:spChg chg="mod">
          <ac:chgData name="Marco Soares" userId="d0da0a5a-bb2d-4628-9140-122d0f91b28a" providerId="ADAL" clId="{9C716D8F-8829-42BC-924A-3E53FBB2B216}" dt="2022-08-22T14:38:06.050" v="658" actId="20577"/>
          <ac:spMkLst>
            <pc:docMk/>
            <pc:sldMk cId="223555657" sldId="326"/>
            <ac:spMk id="6" creationId="{D9F1196F-87AA-446C-8C01-29A90D789E96}"/>
          </ac:spMkLst>
        </pc:spChg>
      </pc:sldChg>
      <pc:sldChg chg="modSp add mod">
        <pc:chgData name="Marco Soares" userId="d0da0a5a-bb2d-4628-9140-122d0f91b28a" providerId="ADAL" clId="{9C716D8F-8829-42BC-924A-3E53FBB2B216}" dt="2022-08-22T14:38:42.413" v="683" actId="20577"/>
        <pc:sldMkLst>
          <pc:docMk/>
          <pc:sldMk cId="2457167174" sldId="327"/>
        </pc:sldMkLst>
        <pc:spChg chg="mod">
          <ac:chgData name="Marco Soares" userId="d0da0a5a-bb2d-4628-9140-122d0f91b28a" providerId="ADAL" clId="{9C716D8F-8829-42BC-924A-3E53FBB2B216}" dt="2022-08-22T14:38:42.413" v="683" actId="20577"/>
          <ac:spMkLst>
            <pc:docMk/>
            <pc:sldMk cId="2457167174" sldId="327"/>
            <ac:spMk id="6" creationId="{D9F1196F-87AA-446C-8C01-29A90D789E96}"/>
          </ac:spMkLst>
        </pc:spChg>
      </pc:sldChg>
      <pc:sldChg chg="modSp add mod">
        <pc:chgData name="Marco Soares" userId="d0da0a5a-bb2d-4628-9140-122d0f91b28a" providerId="ADAL" clId="{9C716D8F-8829-42BC-924A-3E53FBB2B216}" dt="2022-08-22T14:39:26.659" v="705" actId="20577"/>
        <pc:sldMkLst>
          <pc:docMk/>
          <pc:sldMk cId="2709452702" sldId="328"/>
        </pc:sldMkLst>
        <pc:spChg chg="mod">
          <ac:chgData name="Marco Soares" userId="d0da0a5a-bb2d-4628-9140-122d0f91b28a" providerId="ADAL" clId="{9C716D8F-8829-42BC-924A-3E53FBB2B216}" dt="2022-08-22T14:39:26.659" v="705" actId="20577"/>
          <ac:spMkLst>
            <pc:docMk/>
            <pc:sldMk cId="2709452702" sldId="328"/>
            <ac:spMk id="6" creationId="{D9F1196F-87AA-446C-8C01-29A90D789E96}"/>
          </ac:spMkLst>
        </pc:spChg>
      </pc:sldChg>
      <pc:sldMasterChg chg="modSldLayout">
        <pc:chgData name="Marco Soares" userId="d0da0a5a-bb2d-4628-9140-122d0f91b28a" providerId="ADAL" clId="{9C716D8F-8829-42BC-924A-3E53FBB2B216}" dt="2022-08-22T14:17:12.884" v="154"/>
        <pc:sldMasterMkLst>
          <pc:docMk/>
          <pc:sldMasterMk cId="4275013144" sldId="2147483665"/>
        </pc:sldMasterMkLst>
        <pc:sldLayoutChg chg="setBg">
          <pc:chgData name="Marco Soares" userId="d0da0a5a-bb2d-4628-9140-122d0f91b28a" providerId="ADAL" clId="{9C716D8F-8829-42BC-924A-3E53FBB2B216}" dt="2022-08-22T14:17:12.884" v="154"/>
          <pc:sldLayoutMkLst>
            <pc:docMk/>
            <pc:sldMasterMk cId="4275013144" sldId="2147483665"/>
            <pc:sldLayoutMk cId="1892194428" sldId="2147483666"/>
          </pc:sldLayoutMkLst>
        </pc:sldLayoutChg>
        <pc:sldLayoutChg chg="setBg">
          <pc:chgData name="Marco Soares" userId="d0da0a5a-bb2d-4628-9140-122d0f91b28a" providerId="ADAL" clId="{9C716D8F-8829-42BC-924A-3E53FBB2B216}" dt="2022-08-22T14:17:12.884" v="154"/>
          <pc:sldLayoutMkLst>
            <pc:docMk/>
            <pc:sldMasterMk cId="4275013144" sldId="2147483665"/>
            <pc:sldLayoutMk cId="3422412631" sldId="2147483667"/>
          </pc:sldLayoutMkLst>
        </pc:sldLayoutChg>
        <pc:sldLayoutChg chg="setBg">
          <pc:chgData name="Marco Soares" userId="d0da0a5a-bb2d-4628-9140-122d0f91b28a" providerId="ADAL" clId="{9C716D8F-8829-42BC-924A-3E53FBB2B216}" dt="2022-08-22T14:17:12.884" v="154"/>
          <pc:sldLayoutMkLst>
            <pc:docMk/>
            <pc:sldMasterMk cId="4275013144" sldId="2147483665"/>
            <pc:sldLayoutMk cId="1571841928" sldId="2147483668"/>
          </pc:sldLayoutMkLst>
        </pc:sldLayoutChg>
        <pc:sldLayoutChg chg="setBg">
          <pc:chgData name="Marco Soares" userId="d0da0a5a-bb2d-4628-9140-122d0f91b28a" providerId="ADAL" clId="{9C716D8F-8829-42BC-924A-3E53FBB2B216}" dt="2022-08-22T14:17:12.884" v="154"/>
          <pc:sldLayoutMkLst>
            <pc:docMk/>
            <pc:sldMasterMk cId="4275013144" sldId="2147483665"/>
            <pc:sldLayoutMk cId="2519565449" sldId="2147483670"/>
          </pc:sldLayoutMkLst>
        </pc:sldLayoutChg>
        <pc:sldLayoutChg chg="setBg">
          <pc:chgData name="Marco Soares" userId="d0da0a5a-bb2d-4628-9140-122d0f91b28a" providerId="ADAL" clId="{9C716D8F-8829-42BC-924A-3E53FBB2B216}" dt="2022-08-22T14:17:12.884" v="154"/>
          <pc:sldLayoutMkLst>
            <pc:docMk/>
            <pc:sldMasterMk cId="4275013144" sldId="2147483665"/>
            <pc:sldLayoutMk cId="530540303" sldId="2147483671"/>
          </pc:sldLayoutMkLst>
        </pc:sldLayoutChg>
        <pc:sldLayoutChg chg="setBg">
          <pc:chgData name="Marco Soares" userId="d0da0a5a-bb2d-4628-9140-122d0f91b28a" providerId="ADAL" clId="{9C716D8F-8829-42BC-924A-3E53FBB2B216}" dt="2022-08-22T14:17:12.884" v="154"/>
          <pc:sldLayoutMkLst>
            <pc:docMk/>
            <pc:sldMasterMk cId="4275013144" sldId="2147483665"/>
            <pc:sldLayoutMk cId="2217999329" sldId="2147483672"/>
          </pc:sldLayoutMkLst>
        </pc:sldLayoutChg>
        <pc:sldLayoutChg chg="setBg">
          <pc:chgData name="Marco Soares" userId="d0da0a5a-bb2d-4628-9140-122d0f91b28a" providerId="ADAL" clId="{9C716D8F-8829-42BC-924A-3E53FBB2B216}" dt="2022-08-22T14:17:12.884" v="154"/>
          <pc:sldLayoutMkLst>
            <pc:docMk/>
            <pc:sldMasterMk cId="4275013144" sldId="2147483665"/>
            <pc:sldLayoutMk cId="3726244225" sldId="2147483682"/>
          </pc:sldLayoutMkLst>
        </pc:sldLayoutChg>
        <pc:sldLayoutChg chg="setBg">
          <pc:chgData name="Marco Soares" userId="d0da0a5a-bb2d-4628-9140-122d0f91b28a" providerId="ADAL" clId="{9C716D8F-8829-42BC-924A-3E53FBB2B216}" dt="2022-08-22T14:17:12.884" v="154"/>
          <pc:sldLayoutMkLst>
            <pc:docMk/>
            <pc:sldMasterMk cId="4275013144" sldId="2147483665"/>
            <pc:sldLayoutMk cId="3180657336" sldId="2147483683"/>
          </pc:sldLayoutMkLst>
        </pc:sldLayoutChg>
        <pc:sldLayoutChg chg="setBg">
          <pc:chgData name="Marco Soares" userId="d0da0a5a-bb2d-4628-9140-122d0f91b28a" providerId="ADAL" clId="{9C716D8F-8829-42BC-924A-3E53FBB2B216}" dt="2022-08-22T14:17:12.884" v="154"/>
          <pc:sldLayoutMkLst>
            <pc:docMk/>
            <pc:sldMasterMk cId="4275013144" sldId="2147483665"/>
            <pc:sldLayoutMk cId="4073509228" sldId="2147483684"/>
          </pc:sldLayoutMkLst>
        </pc:sldLayoutChg>
      </pc:sldMasterChg>
    </pc:docChg>
  </pc:docChgLst>
  <pc:docChgLst>
    <pc:chgData name="Marco Soares" userId="d0da0a5a-bb2d-4628-9140-122d0f91b28a" providerId="ADAL" clId="{E30409D5-E40D-4A30-9645-D7DAE3E04496}"/>
    <pc:docChg chg="modSld">
      <pc:chgData name="Marco Soares" userId="d0da0a5a-bb2d-4628-9140-122d0f91b28a" providerId="ADAL" clId="{E30409D5-E40D-4A30-9645-D7DAE3E04496}" dt="2023-04-27T19:12:38.932" v="1" actId="20577"/>
      <pc:docMkLst>
        <pc:docMk/>
      </pc:docMkLst>
      <pc:sldChg chg="modSp mod">
        <pc:chgData name="Marco Soares" userId="d0da0a5a-bb2d-4628-9140-122d0f91b28a" providerId="ADAL" clId="{E30409D5-E40D-4A30-9645-D7DAE3E04496}" dt="2023-04-27T19:12:38.932" v="1" actId="20577"/>
        <pc:sldMkLst>
          <pc:docMk/>
          <pc:sldMk cId="2578459873" sldId="313"/>
        </pc:sldMkLst>
        <pc:spChg chg="mod">
          <ac:chgData name="Marco Soares" userId="d0da0a5a-bb2d-4628-9140-122d0f91b28a" providerId="ADAL" clId="{E30409D5-E40D-4A30-9645-D7DAE3E04496}" dt="2023-04-27T19:12:38.932" v="1" actId="20577"/>
          <ac:spMkLst>
            <pc:docMk/>
            <pc:sldMk cId="2578459873" sldId="313"/>
            <ac:spMk id="6" creationId="{14356851-B618-450E-9945-1243A30E31CC}"/>
          </ac:spMkLst>
        </pc:spChg>
      </pc:sldChg>
    </pc:docChg>
  </pc:docChgLst>
  <pc:docChgLst>
    <pc:chgData name="Marco Soares" userId="d0da0a5a-bb2d-4628-9140-122d0f91b28a" providerId="ADAL" clId="{69FA684E-E8CC-44EB-9090-1D6E01135ABA}"/>
    <pc:docChg chg="undo custSel addSld delSld modSld">
      <pc:chgData name="Marco Soares" userId="d0da0a5a-bb2d-4628-9140-122d0f91b28a" providerId="ADAL" clId="{69FA684E-E8CC-44EB-9090-1D6E01135ABA}" dt="2023-07-14T11:38:27.164" v="2073" actId="14100"/>
      <pc:docMkLst>
        <pc:docMk/>
      </pc:docMkLst>
      <pc:sldChg chg="modSp mod">
        <pc:chgData name="Marco Soares" userId="d0da0a5a-bb2d-4628-9140-122d0f91b28a" providerId="ADAL" clId="{69FA684E-E8CC-44EB-9090-1D6E01135ABA}" dt="2023-07-13T18:48:41.389" v="86" actId="20577"/>
        <pc:sldMkLst>
          <pc:docMk/>
          <pc:sldMk cId="2756949035" sldId="256"/>
        </pc:sldMkLst>
        <pc:spChg chg="mod">
          <ac:chgData name="Marco Soares" userId="d0da0a5a-bb2d-4628-9140-122d0f91b28a" providerId="ADAL" clId="{69FA684E-E8CC-44EB-9090-1D6E01135ABA}" dt="2023-07-13T18:48:34.765" v="63" actId="20577"/>
          <ac:spMkLst>
            <pc:docMk/>
            <pc:sldMk cId="2756949035" sldId="256"/>
            <ac:spMk id="14" creationId="{869F3FA5-7478-4DE0-934B-D055B44FCCF5}"/>
          </ac:spMkLst>
        </pc:spChg>
        <pc:spChg chg="mod">
          <ac:chgData name="Marco Soares" userId="d0da0a5a-bb2d-4628-9140-122d0f91b28a" providerId="ADAL" clId="{69FA684E-E8CC-44EB-9090-1D6E01135ABA}" dt="2023-07-13T18:48:41.389" v="86" actId="20577"/>
          <ac:spMkLst>
            <pc:docMk/>
            <pc:sldMk cId="2756949035" sldId="256"/>
            <ac:spMk id="16" creationId="{E1705D10-49A0-45D1-B066-0131E45961F7}"/>
          </ac:spMkLst>
        </pc:spChg>
      </pc:sldChg>
      <pc:sldChg chg="addSp delSp modSp new mod modClrScheme chgLayout">
        <pc:chgData name="Marco Soares" userId="d0da0a5a-bb2d-4628-9140-122d0f91b28a" providerId="ADAL" clId="{69FA684E-E8CC-44EB-9090-1D6E01135ABA}" dt="2023-07-13T19:02:36.422" v="909" actId="790"/>
        <pc:sldMkLst>
          <pc:docMk/>
          <pc:sldMk cId="80376961" sldId="257"/>
        </pc:sldMkLst>
        <pc:spChg chg="del mod ord">
          <ac:chgData name="Marco Soares" userId="d0da0a5a-bb2d-4628-9140-122d0f91b28a" providerId="ADAL" clId="{69FA684E-E8CC-44EB-9090-1D6E01135ABA}" dt="2023-07-13T18:49:12.939" v="89" actId="700"/>
          <ac:spMkLst>
            <pc:docMk/>
            <pc:sldMk cId="80376961" sldId="257"/>
            <ac:spMk id="2" creationId="{CCED2AED-452B-9DB3-B9E3-5E933C602AB0}"/>
          </ac:spMkLst>
        </pc:spChg>
        <pc:spChg chg="del mod ord">
          <ac:chgData name="Marco Soares" userId="d0da0a5a-bb2d-4628-9140-122d0f91b28a" providerId="ADAL" clId="{69FA684E-E8CC-44EB-9090-1D6E01135ABA}" dt="2023-07-13T18:49:12.939" v="89" actId="700"/>
          <ac:spMkLst>
            <pc:docMk/>
            <pc:sldMk cId="80376961" sldId="257"/>
            <ac:spMk id="3" creationId="{25B3A295-9C20-42E0-21A2-10A9554B17AD}"/>
          </ac:spMkLst>
        </pc:spChg>
        <pc:spChg chg="del">
          <ac:chgData name="Marco Soares" userId="d0da0a5a-bb2d-4628-9140-122d0f91b28a" providerId="ADAL" clId="{69FA684E-E8CC-44EB-9090-1D6E01135ABA}" dt="2023-07-13T18:49:12.939" v="89" actId="700"/>
          <ac:spMkLst>
            <pc:docMk/>
            <pc:sldMk cId="80376961" sldId="257"/>
            <ac:spMk id="4" creationId="{1EE400DC-71D2-4DAA-BA8D-B0A74F4B166C}"/>
          </ac:spMkLst>
        </pc:spChg>
        <pc:spChg chg="del">
          <ac:chgData name="Marco Soares" userId="d0da0a5a-bb2d-4628-9140-122d0f91b28a" providerId="ADAL" clId="{69FA684E-E8CC-44EB-9090-1D6E01135ABA}" dt="2023-07-13T18:49:12.939" v="89" actId="700"/>
          <ac:spMkLst>
            <pc:docMk/>
            <pc:sldMk cId="80376961" sldId="257"/>
            <ac:spMk id="5" creationId="{3910FA9A-557D-456C-AED3-74CC517339E5}"/>
          </ac:spMkLst>
        </pc:spChg>
        <pc:spChg chg="add mod ord">
          <ac:chgData name="Marco Soares" userId="d0da0a5a-bb2d-4628-9140-122d0f91b28a" providerId="ADAL" clId="{69FA684E-E8CC-44EB-9090-1D6E01135ABA}" dt="2023-07-13T19:02:36.422" v="909" actId="790"/>
          <ac:spMkLst>
            <pc:docMk/>
            <pc:sldMk cId="80376961" sldId="257"/>
            <ac:spMk id="6" creationId="{D1A7C1C2-A7BD-9B7F-3DFD-1848A5EC9637}"/>
          </ac:spMkLst>
        </pc:spChg>
        <pc:spChg chg="add mod ord">
          <ac:chgData name="Marco Soares" userId="d0da0a5a-bb2d-4628-9140-122d0f91b28a" providerId="ADAL" clId="{69FA684E-E8CC-44EB-9090-1D6E01135ABA}" dt="2023-07-13T19:02:32.187" v="908" actId="790"/>
          <ac:spMkLst>
            <pc:docMk/>
            <pc:sldMk cId="80376961" sldId="257"/>
            <ac:spMk id="7" creationId="{AA6CD75B-175D-BD85-8033-39F95C98DC5B}"/>
          </ac:spMkLst>
        </pc:spChg>
        <pc:spChg chg="add del mod">
          <ac:chgData name="Marco Soares" userId="d0da0a5a-bb2d-4628-9140-122d0f91b28a" providerId="ADAL" clId="{69FA684E-E8CC-44EB-9090-1D6E01135ABA}" dt="2023-07-13T18:50:35.688" v="132" actId="767"/>
          <ac:spMkLst>
            <pc:docMk/>
            <pc:sldMk cId="80376961" sldId="257"/>
            <ac:spMk id="8" creationId="{4DE96BB3-14C4-0A66-E7BB-4B0F3F5D73AF}"/>
          </ac:spMkLst>
        </pc:spChg>
        <pc:spChg chg="add del mod ord">
          <ac:chgData name="Marco Soares" userId="d0da0a5a-bb2d-4628-9140-122d0f91b28a" providerId="ADAL" clId="{69FA684E-E8CC-44EB-9090-1D6E01135ABA}" dt="2023-07-13T18:51:01.974" v="137" actId="700"/>
          <ac:spMkLst>
            <pc:docMk/>
            <pc:sldMk cId="80376961" sldId="257"/>
            <ac:spMk id="9" creationId="{A1D88729-1673-01CC-A151-75CFF37D241B}"/>
          </ac:spMkLst>
        </pc:spChg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1710844466" sldId="257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1186067058" sldId="258"/>
        </pc:sldMkLst>
      </pc:sldChg>
      <pc:sldChg chg="modSp add mod">
        <pc:chgData name="Marco Soares" userId="d0da0a5a-bb2d-4628-9140-122d0f91b28a" providerId="ADAL" clId="{69FA684E-E8CC-44EB-9090-1D6E01135ABA}" dt="2023-07-13T19:02:26.724" v="907" actId="790"/>
        <pc:sldMkLst>
          <pc:docMk/>
          <pc:sldMk cId="3681459111" sldId="258"/>
        </pc:sldMkLst>
        <pc:spChg chg="mod">
          <ac:chgData name="Marco Soares" userId="d0da0a5a-bb2d-4628-9140-122d0f91b28a" providerId="ADAL" clId="{69FA684E-E8CC-44EB-9090-1D6E01135ABA}" dt="2023-07-13T19:02:26.724" v="907" actId="790"/>
          <ac:spMkLst>
            <pc:docMk/>
            <pc:sldMk cId="3681459111" sldId="258"/>
            <ac:spMk id="6" creationId="{D1A7C1C2-A7BD-9B7F-3DFD-1848A5EC9637}"/>
          </ac:spMkLst>
        </pc:spChg>
        <pc:spChg chg="mod">
          <ac:chgData name="Marco Soares" userId="d0da0a5a-bb2d-4628-9140-122d0f91b28a" providerId="ADAL" clId="{69FA684E-E8CC-44EB-9090-1D6E01135ABA}" dt="2023-07-13T19:02:11.404" v="906" actId="790"/>
          <ac:spMkLst>
            <pc:docMk/>
            <pc:sldMk cId="3681459111" sldId="258"/>
            <ac:spMk id="7" creationId="{AA6CD75B-175D-BD85-8033-39F95C98DC5B}"/>
          </ac:spMkLst>
        </pc:spChg>
        <pc:spChg chg="mod">
          <ac:chgData name="Marco Soares" userId="d0da0a5a-bb2d-4628-9140-122d0f91b28a" providerId="ADAL" clId="{69FA684E-E8CC-44EB-9090-1D6E01135ABA}" dt="2023-07-13T19:02:00.665" v="905" actId="790"/>
          <ac:spMkLst>
            <pc:docMk/>
            <pc:sldMk cId="3681459111" sldId="258"/>
            <ac:spMk id="9" creationId="{A1D88729-1673-01CC-A151-75CFF37D241B}"/>
          </ac:spMkLst>
        </pc:spChg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992292059" sldId="259"/>
        </pc:sldMkLst>
      </pc:sldChg>
      <pc:sldChg chg="addSp delSp modSp add mod modClrScheme chgLayout">
        <pc:chgData name="Marco Soares" userId="d0da0a5a-bb2d-4628-9140-122d0f91b28a" providerId="ADAL" clId="{69FA684E-E8CC-44EB-9090-1D6E01135ABA}" dt="2023-07-14T11:38:27.164" v="2073" actId="14100"/>
        <pc:sldMkLst>
          <pc:docMk/>
          <pc:sldMk cId="3784667302" sldId="259"/>
        </pc:sldMkLst>
        <pc:spChg chg="add del mod">
          <ac:chgData name="Marco Soares" userId="d0da0a5a-bb2d-4628-9140-122d0f91b28a" providerId="ADAL" clId="{69FA684E-E8CC-44EB-9090-1D6E01135ABA}" dt="2023-07-13T19:01:28.691" v="882" actId="478"/>
          <ac:spMkLst>
            <pc:docMk/>
            <pc:sldMk cId="3784667302" sldId="259"/>
            <ac:spMk id="3" creationId="{F8236209-DB59-2D82-C239-26483BB29FF9}"/>
          </ac:spMkLst>
        </pc:spChg>
        <pc:spChg chg="mod ord">
          <ac:chgData name="Marco Soares" userId="d0da0a5a-bb2d-4628-9140-122d0f91b28a" providerId="ADAL" clId="{69FA684E-E8CC-44EB-9090-1D6E01135ABA}" dt="2023-07-13T19:01:51.593" v="904" actId="790"/>
          <ac:spMkLst>
            <pc:docMk/>
            <pc:sldMk cId="3784667302" sldId="259"/>
            <ac:spMk id="6" creationId="{D1A7C1C2-A7BD-9B7F-3DFD-1848A5EC9637}"/>
          </ac:spMkLst>
        </pc:spChg>
        <pc:spChg chg="del mod ord">
          <ac:chgData name="Marco Soares" userId="d0da0a5a-bb2d-4628-9140-122d0f91b28a" providerId="ADAL" clId="{69FA684E-E8CC-44EB-9090-1D6E01135ABA}" dt="2023-07-13T19:01:25.702" v="881" actId="478"/>
          <ac:spMkLst>
            <pc:docMk/>
            <pc:sldMk cId="3784667302" sldId="259"/>
            <ac:spMk id="7" creationId="{AA6CD75B-175D-BD85-8033-39F95C98DC5B}"/>
          </ac:spMkLst>
        </pc:spChg>
        <pc:spChg chg="mod ord">
          <ac:chgData name="Marco Soares" userId="d0da0a5a-bb2d-4628-9140-122d0f91b28a" providerId="ADAL" clId="{69FA684E-E8CC-44EB-9090-1D6E01135ABA}" dt="2023-07-14T11:38:27.164" v="2073" actId="14100"/>
          <ac:spMkLst>
            <pc:docMk/>
            <pc:sldMk cId="3784667302" sldId="259"/>
            <ac:spMk id="9" creationId="{A1D88729-1673-01CC-A151-75CFF37D241B}"/>
          </ac:spMkLst>
        </pc:spChg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2748664132" sldId="263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915925481" sldId="264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357679138" sldId="274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3399383844" sldId="275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2950043444" sldId="276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2223004198" sldId="277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2420291069" sldId="278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3417334172" sldId="279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984874926" sldId="280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3345360423" sldId="282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2236436590" sldId="284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1600847887" sldId="288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1284903558" sldId="289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684873671" sldId="290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4076911289" sldId="299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1851178551" sldId="300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2129109806" sldId="301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139641146" sldId="302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250671212" sldId="305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1728753006" sldId="306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1918096098" sldId="308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3506819097" sldId="309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3887127161" sldId="312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2578459873" sldId="313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3135686382" sldId="314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910491148" sldId="315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107169246" sldId="316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310242292" sldId="317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6470172" sldId="318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1769659773" sldId="319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4212108751" sldId="321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2457167174" sldId="327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2709452702" sldId="328"/>
        </pc:sldMkLst>
      </pc:sldChg>
      <pc:sldChg chg="del">
        <pc:chgData name="Marco Soares" userId="d0da0a5a-bb2d-4628-9140-122d0f91b28a" providerId="ADAL" clId="{69FA684E-E8CC-44EB-9090-1D6E01135ABA}" dt="2023-07-13T18:48:58.553" v="87" actId="47"/>
        <pc:sldMkLst>
          <pc:docMk/>
          <pc:sldMk cId="314287564" sldId="32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A0E93-781E-4B0B-9F3D-ADA0CB791293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74688" y="1143000"/>
            <a:ext cx="5508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119D8B-E8B0-4359-8A06-0E73818475E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2824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119D8B-E8B0-4359-8A06-0E73818475EE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3995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0057" y="201846"/>
            <a:ext cx="8101013" cy="840052"/>
          </a:xfrm>
          <a:prstGeom prst="rect">
            <a:avLst/>
          </a:prstGeom>
        </p:spPr>
        <p:txBody>
          <a:bodyPr lIns="80220" tIns="40110" rIns="80220" bIns="40110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0057" y="1176073"/>
            <a:ext cx="8101013" cy="3326374"/>
          </a:xfrm>
          <a:prstGeom prst="rect">
            <a:avLst/>
          </a:prstGeom>
        </p:spPr>
        <p:txBody>
          <a:bodyPr vert="eaVert" lIns="80220" tIns="40110" rIns="80220" bIns="4011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0057" y="4671625"/>
            <a:ext cx="2100263" cy="268350"/>
          </a:xfrm>
          <a:prstGeom prst="rect">
            <a:avLst/>
          </a:prstGeom>
        </p:spPr>
        <p:txBody>
          <a:bodyPr lIns="80220" tIns="40110" rIns="80220" bIns="40110"/>
          <a:lstStyle/>
          <a:p>
            <a:pPr defTabSz="802202"/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  <a:pPr defTabSz="802202"/>
              <a:t>2023/7/14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075385" y="4671625"/>
            <a:ext cx="2850356" cy="268350"/>
          </a:xfrm>
          <a:prstGeom prst="rect">
            <a:avLst/>
          </a:prstGeom>
        </p:spPr>
        <p:txBody>
          <a:bodyPr lIns="80220" tIns="40110" rIns="80220" bIns="40110"/>
          <a:lstStyle/>
          <a:p>
            <a:pPr defTabSz="802202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50807" y="4671625"/>
            <a:ext cx="2100263" cy="268350"/>
          </a:xfrm>
          <a:prstGeom prst="rect">
            <a:avLst/>
          </a:prstGeom>
        </p:spPr>
        <p:txBody>
          <a:bodyPr lIns="80220" tIns="40110" rIns="80220" bIns="40110"/>
          <a:lstStyle/>
          <a:p>
            <a:pPr defTabSz="802202"/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  <a:pPr defTabSz="802202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726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1553971" cy="5042063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7204" tIns="33602" rIns="67204" bIns="33602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176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3584338" y="1074619"/>
            <a:ext cx="3322698" cy="1058887"/>
          </a:xfrm>
        </p:spPr>
        <p:txBody>
          <a:bodyPr anchor="b"/>
          <a:lstStyle>
            <a:lvl1pPr algn="l">
              <a:defRPr sz="3528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09755" y="2252526"/>
            <a:ext cx="3322698" cy="529167"/>
          </a:xfrm>
        </p:spPr>
        <p:txBody>
          <a:bodyPr anchor="t"/>
          <a:lstStyle>
            <a:lvl1pPr marL="0" indent="0" algn="l">
              <a:buNone/>
              <a:defRPr sz="1764" b="1">
                <a:solidFill>
                  <a:schemeClr val="accent3"/>
                </a:solidFill>
              </a:defRPr>
            </a:lvl1pPr>
            <a:lvl2pPr marL="0" indent="0" algn="l">
              <a:buNone/>
              <a:defRPr sz="1764" b="1">
                <a:solidFill>
                  <a:schemeClr val="accent3"/>
                </a:solidFill>
              </a:defRPr>
            </a:lvl2pPr>
            <a:lvl3pPr marL="0" indent="0" algn="l">
              <a:buNone/>
              <a:defRPr sz="1764" b="1">
                <a:solidFill>
                  <a:schemeClr val="accent3"/>
                </a:solidFill>
              </a:defRPr>
            </a:lvl3pPr>
            <a:lvl4pPr marL="0" indent="0" algn="l">
              <a:buNone/>
              <a:defRPr sz="1764" b="1">
                <a:solidFill>
                  <a:schemeClr val="accent3"/>
                </a:solidFill>
              </a:defRPr>
            </a:lvl4pPr>
            <a:lvl5pPr marL="0" indent="0" algn="l">
              <a:buNone/>
              <a:defRPr sz="1764" b="1">
                <a:solidFill>
                  <a:schemeClr val="accent3"/>
                </a:solidFill>
              </a:defRPr>
            </a:lvl5pPr>
            <a:lvl6pPr marL="0" indent="0" algn="l">
              <a:buNone/>
              <a:defRPr sz="1764" b="1">
                <a:solidFill>
                  <a:schemeClr val="accent3"/>
                </a:solidFill>
              </a:defRPr>
            </a:lvl6pPr>
            <a:lvl7pPr marL="0" indent="0" algn="l">
              <a:buNone/>
              <a:defRPr sz="1764" b="1">
                <a:solidFill>
                  <a:schemeClr val="accent3"/>
                </a:solidFill>
              </a:defRPr>
            </a:lvl7pPr>
            <a:lvl8pPr marL="0" indent="0" algn="l">
              <a:buNone/>
              <a:defRPr sz="1764" b="1">
                <a:solidFill>
                  <a:schemeClr val="accent3"/>
                </a:solidFill>
              </a:defRPr>
            </a:lvl8pPr>
            <a:lvl9pPr marL="0" indent="0" algn="l">
              <a:buNone/>
              <a:defRPr sz="1764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560878" y="1"/>
            <a:ext cx="3063416" cy="5040313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6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6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5977" y="453980"/>
            <a:ext cx="291842" cy="29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63505" y="374329"/>
            <a:ext cx="451887" cy="449792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62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62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17999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24954" y="836597"/>
            <a:ext cx="7973339" cy="185208"/>
          </a:xfrm>
        </p:spPr>
        <p:txBody>
          <a:bodyPr anchor="t"/>
          <a:lstStyle>
            <a:lvl1pPr marL="0" indent="0" algn="l">
              <a:buNone/>
              <a:defRPr sz="1323">
                <a:solidFill>
                  <a:schemeClr val="accent1"/>
                </a:solidFill>
              </a:defRPr>
            </a:lvl1pPr>
            <a:lvl2pPr marL="0" indent="0" algn="l">
              <a:buNone/>
              <a:defRPr sz="1323">
                <a:solidFill>
                  <a:schemeClr val="accent1"/>
                </a:solidFill>
              </a:defRPr>
            </a:lvl2pPr>
            <a:lvl3pPr marL="0" indent="0" algn="l">
              <a:buNone/>
              <a:defRPr sz="1323">
                <a:solidFill>
                  <a:schemeClr val="accent1"/>
                </a:solidFill>
              </a:defRPr>
            </a:lvl3pPr>
            <a:lvl4pPr marL="0" indent="0" algn="l">
              <a:buNone/>
              <a:defRPr sz="1323">
                <a:solidFill>
                  <a:schemeClr val="accent1"/>
                </a:solidFill>
              </a:defRPr>
            </a:lvl4pPr>
            <a:lvl5pPr marL="0" indent="0" algn="l">
              <a:buNone/>
              <a:defRPr sz="1323">
                <a:solidFill>
                  <a:schemeClr val="accent1"/>
                </a:solidFill>
              </a:defRPr>
            </a:lvl5pPr>
            <a:lvl6pPr marL="0" indent="0" algn="l">
              <a:buNone/>
              <a:defRPr sz="1323">
                <a:solidFill>
                  <a:schemeClr val="accent1"/>
                </a:solidFill>
              </a:defRPr>
            </a:lvl6pPr>
            <a:lvl7pPr marL="0" indent="0" algn="l">
              <a:buNone/>
              <a:defRPr sz="1323">
                <a:solidFill>
                  <a:schemeClr val="accent1"/>
                </a:solidFill>
              </a:defRPr>
            </a:lvl7pPr>
            <a:lvl8pPr marL="0" indent="0" algn="l">
              <a:buNone/>
              <a:defRPr sz="1323">
                <a:solidFill>
                  <a:schemeClr val="accent1"/>
                </a:solidFill>
              </a:defRPr>
            </a:lvl8pPr>
            <a:lvl9pPr marL="0" indent="0" algn="l">
              <a:buNone/>
              <a:defRPr sz="1323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4799" y="453580"/>
            <a:ext cx="295056" cy="293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724954" y="1273492"/>
            <a:ext cx="7973339" cy="3492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63505" y="374329"/>
            <a:ext cx="451887" cy="449792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62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62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38515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24954" y="836597"/>
            <a:ext cx="7973339" cy="185208"/>
          </a:xfrm>
        </p:spPr>
        <p:txBody>
          <a:bodyPr anchor="t"/>
          <a:lstStyle>
            <a:lvl1pPr marL="0" indent="0" algn="l">
              <a:buNone/>
              <a:defRPr sz="1323">
                <a:solidFill>
                  <a:schemeClr val="accent1"/>
                </a:solidFill>
              </a:defRPr>
            </a:lvl1pPr>
            <a:lvl2pPr marL="0" indent="0" algn="l">
              <a:buNone/>
              <a:defRPr sz="1323">
                <a:solidFill>
                  <a:schemeClr val="accent1"/>
                </a:solidFill>
              </a:defRPr>
            </a:lvl2pPr>
            <a:lvl3pPr marL="0" indent="0" algn="l">
              <a:buNone/>
              <a:defRPr sz="1323">
                <a:solidFill>
                  <a:schemeClr val="accent1"/>
                </a:solidFill>
              </a:defRPr>
            </a:lvl3pPr>
            <a:lvl4pPr marL="0" indent="0" algn="l">
              <a:buNone/>
              <a:defRPr sz="1323">
                <a:solidFill>
                  <a:schemeClr val="accent1"/>
                </a:solidFill>
              </a:defRPr>
            </a:lvl4pPr>
            <a:lvl5pPr marL="0" indent="0" algn="l">
              <a:buNone/>
              <a:defRPr sz="1323">
                <a:solidFill>
                  <a:schemeClr val="accent1"/>
                </a:solidFill>
              </a:defRPr>
            </a:lvl5pPr>
            <a:lvl6pPr marL="0" indent="0" algn="l">
              <a:buNone/>
              <a:defRPr sz="1323">
                <a:solidFill>
                  <a:schemeClr val="accent1"/>
                </a:solidFill>
              </a:defRPr>
            </a:lvl6pPr>
            <a:lvl7pPr marL="0" indent="0" algn="l">
              <a:buNone/>
              <a:defRPr sz="1323">
                <a:solidFill>
                  <a:schemeClr val="accent1"/>
                </a:solidFill>
              </a:defRPr>
            </a:lvl7pPr>
            <a:lvl8pPr marL="0" indent="0" algn="l">
              <a:buNone/>
              <a:defRPr sz="1323">
                <a:solidFill>
                  <a:schemeClr val="accent1"/>
                </a:solidFill>
              </a:defRPr>
            </a:lvl8pPr>
            <a:lvl9pPr marL="0" indent="0" algn="l">
              <a:buNone/>
              <a:defRPr sz="1323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4799" y="453580"/>
            <a:ext cx="295056" cy="293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724954" y="1273492"/>
            <a:ext cx="3854330" cy="34925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4843462" y="1273492"/>
            <a:ext cx="3854330" cy="34925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63505" y="374329"/>
            <a:ext cx="451887" cy="449792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62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62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0832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24954" y="836597"/>
            <a:ext cx="7973339" cy="185208"/>
          </a:xfrm>
        </p:spPr>
        <p:txBody>
          <a:bodyPr anchor="t"/>
          <a:lstStyle>
            <a:lvl1pPr marL="0" indent="0" algn="l">
              <a:buNone/>
              <a:defRPr sz="1323">
                <a:solidFill>
                  <a:schemeClr val="accent1"/>
                </a:solidFill>
              </a:defRPr>
            </a:lvl1pPr>
            <a:lvl2pPr marL="0" indent="0" algn="l">
              <a:buNone/>
              <a:defRPr sz="1323">
                <a:solidFill>
                  <a:schemeClr val="accent1"/>
                </a:solidFill>
              </a:defRPr>
            </a:lvl2pPr>
            <a:lvl3pPr marL="0" indent="0" algn="l">
              <a:buNone/>
              <a:defRPr sz="1323">
                <a:solidFill>
                  <a:schemeClr val="accent1"/>
                </a:solidFill>
              </a:defRPr>
            </a:lvl3pPr>
            <a:lvl4pPr marL="0" indent="0" algn="l">
              <a:buNone/>
              <a:defRPr sz="1323">
                <a:solidFill>
                  <a:schemeClr val="accent1"/>
                </a:solidFill>
              </a:defRPr>
            </a:lvl4pPr>
            <a:lvl5pPr marL="0" indent="0" algn="l">
              <a:buNone/>
              <a:defRPr sz="1323">
                <a:solidFill>
                  <a:schemeClr val="accent1"/>
                </a:solidFill>
              </a:defRPr>
            </a:lvl5pPr>
            <a:lvl6pPr marL="0" indent="0" algn="l">
              <a:buNone/>
              <a:defRPr sz="1323">
                <a:solidFill>
                  <a:schemeClr val="accent1"/>
                </a:solidFill>
              </a:defRPr>
            </a:lvl6pPr>
            <a:lvl7pPr marL="0" indent="0" algn="l">
              <a:buNone/>
              <a:defRPr sz="1323">
                <a:solidFill>
                  <a:schemeClr val="accent1"/>
                </a:solidFill>
              </a:defRPr>
            </a:lvl7pPr>
            <a:lvl8pPr marL="0" indent="0" algn="l">
              <a:buNone/>
              <a:defRPr sz="1323">
                <a:solidFill>
                  <a:schemeClr val="accent1"/>
                </a:solidFill>
              </a:defRPr>
            </a:lvl8pPr>
            <a:lvl9pPr marL="0" indent="0" algn="l">
              <a:buNone/>
              <a:defRPr sz="1323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724954" y="2860991"/>
            <a:ext cx="3854330" cy="1905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4843548" y="2860991"/>
            <a:ext cx="3854330" cy="1905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724954" y="1273491"/>
            <a:ext cx="3854330" cy="1322917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4843548" y="1273491"/>
            <a:ext cx="3854330" cy="1322917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4799" y="453580"/>
            <a:ext cx="295056" cy="293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63505" y="374329"/>
            <a:ext cx="451887" cy="449792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62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62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9074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24954" y="836597"/>
            <a:ext cx="7973339" cy="185208"/>
          </a:xfrm>
        </p:spPr>
        <p:txBody>
          <a:bodyPr anchor="t"/>
          <a:lstStyle>
            <a:lvl1pPr marL="0" indent="0" algn="l">
              <a:buNone/>
              <a:defRPr sz="1323">
                <a:solidFill>
                  <a:schemeClr val="accent1"/>
                </a:solidFill>
              </a:defRPr>
            </a:lvl1pPr>
            <a:lvl2pPr marL="0" indent="0" algn="l">
              <a:buNone/>
              <a:defRPr sz="1323">
                <a:solidFill>
                  <a:schemeClr val="accent1"/>
                </a:solidFill>
              </a:defRPr>
            </a:lvl2pPr>
            <a:lvl3pPr marL="0" indent="0" algn="l">
              <a:buNone/>
              <a:defRPr sz="1323">
                <a:solidFill>
                  <a:schemeClr val="accent1"/>
                </a:solidFill>
              </a:defRPr>
            </a:lvl3pPr>
            <a:lvl4pPr marL="0" indent="0" algn="l">
              <a:buNone/>
              <a:defRPr sz="1323">
                <a:solidFill>
                  <a:schemeClr val="accent1"/>
                </a:solidFill>
              </a:defRPr>
            </a:lvl4pPr>
            <a:lvl5pPr marL="0" indent="0" algn="l">
              <a:buNone/>
              <a:defRPr sz="1323">
                <a:solidFill>
                  <a:schemeClr val="accent1"/>
                </a:solidFill>
              </a:defRPr>
            </a:lvl5pPr>
            <a:lvl6pPr marL="0" indent="0" algn="l">
              <a:buNone/>
              <a:defRPr sz="1323">
                <a:solidFill>
                  <a:schemeClr val="accent1"/>
                </a:solidFill>
              </a:defRPr>
            </a:lvl6pPr>
            <a:lvl7pPr marL="0" indent="0" algn="l">
              <a:buNone/>
              <a:defRPr sz="1323">
                <a:solidFill>
                  <a:schemeClr val="accent1"/>
                </a:solidFill>
              </a:defRPr>
            </a:lvl7pPr>
            <a:lvl8pPr marL="0" indent="0" algn="l">
              <a:buNone/>
              <a:defRPr sz="1323">
                <a:solidFill>
                  <a:schemeClr val="accent1"/>
                </a:solidFill>
              </a:defRPr>
            </a:lvl8pPr>
            <a:lvl9pPr marL="0" indent="0" algn="l">
              <a:buNone/>
              <a:defRPr sz="1323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24955" y="133716"/>
            <a:ext cx="7973338" cy="63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4799" y="453580"/>
            <a:ext cx="295056" cy="293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63505" y="374329"/>
            <a:ext cx="451887" cy="449792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62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62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2457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723818" y="773549"/>
            <a:ext cx="7974476" cy="3992443"/>
          </a:xfrm>
        </p:spPr>
        <p:txBody>
          <a:bodyPr bIns="0" anchor="ctr"/>
          <a:lstStyle>
            <a:lvl1pPr marL="0" indent="0" algn="l">
              <a:buNone/>
              <a:defRPr sz="4851">
                <a:solidFill>
                  <a:schemeClr val="tx2"/>
                </a:solidFill>
              </a:defRPr>
            </a:lvl1pPr>
            <a:lvl2pPr marL="0" indent="0" algn="l">
              <a:buNone/>
              <a:defRPr sz="4851">
                <a:solidFill>
                  <a:schemeClr val="tx2"/>
                </a:solidFill>
              </a:defRPr>
            </a:lvl2pPr>
            <a:lvl3pPr marL="0" indent="0" algn="l">
              <a:buNone/>
              <a:defRPr sz="4851">
                <a:solidFill>
                  <a:schemeClr val="tx2"/>
                </a:solidFill>
              </a:defRPr>
            </a:lvl3pPr>
            <a:lvl4pPr marL="0" indent="0" algn="l">
              <a:buNone/>
              <a:defRPr sz="4851">
                <a:solidFill>
                  <a:schemeClr val="tx2"/>
                </a:solidFill>
              </a:defRPr>
            </a:lvl4pPr>
            <a:lvl5pPr marL="0" indent="0" algn="l">
              <a:buNone/>
              <a:defRPr sz="4851">
                <a:solidFill>
                  <a:schemeClr val="tx2"/>
                </a:solidFill>
              </a:defRPr>
            </a:lvl5pPr>
            <a:lvl6pPr marL="0" indent="0" algn="l">
              <a:buNone/>
              <a:defRPr sz="4851">
                <a:solidFill>
                  <a:schemeClr val="tx2"/>
                </a:solidFill>
              </a:defRPr>
            </a:lvl6pPr>
            <a:lvl7pPr marL="0" indent="0" algn="l">
              <a:buNone/>
              <a:defRPr sz="4851">
                <a:solidFill>
                  <a:schemeClr val="tx2"/>
                </a:solidFill>
              </a:defRPr>
            </a:lvl7pPr>
            <a:lvl8pPr marL="0" indent="0" algn="l">
              <a:buNone/>
              <a:defRPr sz="4851">
                <a:solidFill>
                  <a:schemeClr val="tx2"/>
                </a:solidFill>
              </a:defRPr>
            </a:lvl8pPr>
            <a:lvl9pPr marL="0" indent="0" algn="l">
              <a:buNone/>
              <a:defRPr sz="485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4799" y="453580"/>
            <a:ext cx="295056" cy="293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63505" y="374329"/>
            <a:ext cx="451887" cy="449792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62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62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98923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9001125" cy="5040313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78649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6053311" cy="5054314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76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23376" y="1273250"/>
            <a:ext cx="3973576" cy="435792"/>
          </a:xfrm>
        </p:spPr>
        <p:txBody>
          <a:bodyPr anchor="b"/>
          <a:lstStyle>
            <a:lvl1pPr marL="0" indent="0" algn="l">
              <a:buNone/>
              <a:defRPr sz="1470">
                <a:solidFill>
                  <a:schemeClr val="bg1"/>
                </a:solidFill>
              </a:defRPr>
            </a:lvl1pPr>
            <a:lvl2pPr marL="0" indent="0" algn="l">
              <a:buNone/>
              <a:defRPr sz="1470">
                <a:solidFill>
                  <a:schemeClr val="bg1"/>
                </a:solidFill>
              </a:defRPr>
            </a:lvl2pPr>
            <a:lvl3pPr marL="0" indent="0" algn="l">
              <a:buNone/>
              <a:defRPr sz="1470">
                <a:solidFill>
                  <a:schemeClr val="bg1"/>
                </a:solidFill>
              </a:defRPr>
            </a:lvl3pPr>
            <a:lvl4pPr marL="0" indent="0" algn="l">
              <a:buNone/>
              <a:defRPr sz="1470">
                <a:solidFill>
                  <a:schemeClr val="bg1"/>
                </a:solidFill>
              </a:defRPr>
            </a:lvl4pPr>
            <a:lvl5pPr marL="0" indent="0" algn="l">
              <a:buNone/>
              <a:defRPr sz="1470">
                <a:solidFill>
                  <a:schemeClr val="bg1"/>
                </a:solidFill>
              </a:defRPr>
            </a:lvl5pPr>
            <a:lvl6pPr marL="0" indent="0" algn="l">
              <a:buNone/>
              <a:defRPr sz="1470">
                <a:solidFill>
                  <a:schemeClr val="bg1"/>
                </a:solidFill>
              </a:defRPr>
            </a:lvl6pPr>
            <a:lvl7pPr marL="0" indent="0" algn="l">
              <a:buNone/>
              <a:defRPr sz="1470">
                <a:solidFill>
                  <a:schemeClr val="bg1"/>
                </a:solidFill>
              </a:defRPr>
            </a:lvl7pPr>
            <a:lvl8pPr marL="0" indent="0" algn="l">
              <a:buNone/>
              <a:defRPr sz="1470">
                <a:solidFill>
                  <a:schemeClr val="bg1"/>
                </a:solidFill>
              </a:defRPr>
            </a:lvl8pPr>
            <a:lvl9pPr marL="0" indent="0" algn="l">
              <a:buNone/>
              <a:defRPr sz="147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23376" y="1782225"/>
            <a:ext cx="3973576" cy="1190625"/>
          </a:xfrm>
        </p:spPr>
        <p:txBody>
          <a:bodyPr anchor="t"/>
          <a:lstStyle>
            <a:lvl1pPr>
              <a:defRPr sz="3969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17989" y="2969998"/>
            <a:ext cx="355035" cy="13208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730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7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44359" y="3132484"/>
            <a:ext cx="2658159" cy="7937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23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01091" y="0"/>
            <a:ext cx="4500035" cy="5040313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8102" y="518032"/>
            <a:ext cx="531632" cy="52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774093" y="0"/>
            <a:ext cx="2169991" cy="5054314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7204" tIns="33602" rIns="67204" bIns="33602" numCol="1" anchor="t" anchorCtr="0" compatLnSpc="1">
            <a:prstTxWarp prst="textNoShape">
              <a:avLst/>
            </a:prstTxWarp>
          </a:bodyPr>
          <a:lstStyle/>
          <a:p>
            <a:endParaRPr lang="en-US" sz="1176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385309" y="385741"/>
            <a:ext cx="797448" cy="79375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76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176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6311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6053311" cy="5054314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76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23377" y="1273497"/>
            <a:ext cx="3973575" cy="435546"/>
          </a:xfrm>
        </p:spPr>
        <p:txBody>
          <a:bodyPr anchor="b"/>
          <a:lstStyle>
            <a:lvl1pPr marL="0" indent="0" algn="l">
              <a:buNone/>
              <a:defRPr sz="1470">
                <a:solidFill>
                  <a:schemeClr val="bg1"/>
                </a:solidFill>
              </a:defRPr>
            </a:lvl1pPr>
            <a:lvl2pPr marL="0" indent="0" algn="l">
              <a:buNone/>
              <a:defRPr sz="1470">
                <a:solidFill>
                  <a:schemeClr val="bg1"/>
                </a:solidFill>
              </a:defRPr>
            </a:lvl2pPr>
            <a:lvl3pPr marL="0" indent="0" algn="l">
              <a:buNone/>
              <a:defRPr sz="1470">
                <a:solidFill>
                  <a:schemeClr val="bg1"/>
                </a:solidFill>
              </a:defRPr>
            </a:lvl3pPr>
            <a:lvl4pPr marL="0" indent="0" algn="l">
              <a:buNone/>
              <a:defRPr sz="1470">
                <a:solidFill>
                  <a:schemeClr val="bg1"/>
                </a:solidFill>
              </a:defRPr>
            </a:lvl4pPr>
            <a:lvl5pPr marL="0" indent="0" algn="l">
              <a:buNone/>
              <a:defRPr sz="1470">
                <a:solidFill>
                  <a:schemeClr val="bg1"/>
                </a:solidFill>
              </a:defRPr>
            </a:lvl5pPr>
            <a:lvl6pPr marL="0" indent="0" algn="l">
              <a:buNone/>
              <a:defRPr sz="1470">
                <a:solidFill>
                  <a:schemeClr val="bg1"/>
                </a:solidFill>
              </a:defRPr>
            </a:lvl6pPr>
            <a:lvl7pPr marL="0" indent="0" algn="l">
              <a:buNone/>
              <a:defRPr sz="1470">
                <a:solidFill>
                  <a:schemeClr val="bg1"/>
                </a:solidFill>
              </a:defRPr>
            </a:lvl7pPr>
            <a:lvl8pPr marL="0" indent="0" algn="l">
              <a:buNone/>
              <a:defRPr sz="1470">
                <a:solidFill>
                  <a:schemeClr val="bg1"/>
                </a:solidFill>
              </a:defRPr>
            </a:lvl8pPr>
            <a:lvl9pPr marL="0" indent="0" algn="l">
              <a:buNone/>
              <a:defRPr sz="147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23377" y="1782225"/>
            <a:ext cx="3973576" cy="1190625"/>
          </a:xfrm>
        </p:spPr>
        <p:txBody>
          <a:bodyPr anchor="t"/>
          <a:lstStyle>
            <a:lvl1pPr>
              <a:defRPr sz="3969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17989" y="2969998"/>
            <a:ext cx="355035" cy="13208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730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72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44359" y="3132484"/>
            <a:ext cx="2658159" cy="7937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23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01091" y="0"/>
            <a:ext cx="4500035" cy="5040313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8102" y="518032"/>
            <a:ext cx="531632" cy="52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774093" y="0"/>
            <a:ext cx="2169991" cy="5054314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7204" tIns="33602" rIns="67204" bIns="33602" numCol="1" anchor="t" anchorCtr="0" compatLnSpc="1">
            <a:prstTxWarp prst="textNoShape">
              <a:avLst/>
            </a:prstTxWarp>
          </a:bodyPr>
          <a:lstStyle/>
          <a:p>
            <a:endParaRPr lang="en-US" sz="1176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385309" y="385741"/>
            <a:ext cx="797448" cy="79375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76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176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88854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6053311" cy="5054314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76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523377" y="1273497"/>
            <a:ext cx="3973575" cy="435546"/>
          </a:xfrm>
        </p:spPr>
        <p:txBody>
          <a:bodyPr anchor="b"/>
          <a:lstStyle>
            <a:lvl1pPr marL="0" indent="0" algn="l">
              <a:buNone/>
              <a:defRPr sz="1470">
                <a:solidFill>
                  <a:schemeClr val="bg1"/>
                </a:solidFill>
              </a:defRPr>
            </a:lvl1pPr>
            <a:lvl2pPr marL="0" indent="0" algn="l">
              <a:buNone/>
              <a:defRPr sz="1470">
                <a:solidFill>
                  <a:schemeClr val="bg1"/>
                </a:solidFill>
              </a:defRPr>
            </a:lvl2pPr>
            <a:lvl3pPr marL="0" indent="0" algn="l">
              <a:buNone/>
              <a:defRPr sz="1470">
                <a:solidFill>
                  <a:schemeClr val="bg1"/>
                </a:solidFill>
              </a:defRPr>
            </a:lvl3pPr>
            <a:lvl4pPr marL="0" indent="0" algn="l">
              <a:buNone/>
              <a:defRPr sz="1470">
                <a:solidFill>
                  <a:schemeClr val="bg1"/>
                </a:solidFill>
              </a:defRPr>
            </a:lvl4pPr>
            <a:lvl5pPr marL="0" indent="0" algn="l">
              <a:buNone/>
              <a:defRPr sz="1470">
                <a:solidFill>
                  <a:schemeClr val="bg1"/>
                </a:solidFill>
              </a:defRPr>
            </a:lvl5pPr>
            <a:lvl6pPr marL="0" indent="0" algn="l">
              <a:buNone/>
              <a:defRPr sz="1470">
                <a:solidFill>
                  <a:schemeClr val="bg1"/>
                </a:solidFill>
              </a:defRPr>
            </a:lvl6pPr>
            <a:lvl7pPr marL="0" indent="0" algn="l">
              <a:buNone/>
              <a:defRPr sz="1470">
                <a:solidFill>
                  <a:schemeClr val="bg1"/>
                </a:solidFill>
              </a:defRPr>
            </a:lvl7pPr>
            <a:lvl8pPr marL="0" indent="0" algn="l">
              <a:buNone/>
              <a:defRPr sz="1470">
                <a:solidFill>
                  <a:schemeClr val="bg1"/>
                </a:solidFill>
              </a:defRPr>
            </a:lvl8pPr>
            <a:lvl9pPr marL="0" indent="0" algn="l">
              <a:buNone/>
              <a:defRPr sz="147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23377" y="1782225"/>
            <a:ext cx="3973576" cy="1190625"/>
          </a:xfrm>
        </p:spPr>
        <p:txBody>
          <a:bodyPr anchor="t"/>
          <a:lstStyle>
            <a:lvl1pPr>
              <a:defRPr sz="3969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17989" y="2969998"/>
            <a:ext cx="355035" cy="13208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730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72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044359" y="3132484"/>
            <a:ext cx="2658159" cy="7937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23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01091" y="0"/>
            <a:ext cx="4500035" cy="5040313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8102" y="518032"/>
            <a:ext cx="531632" cy="52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3774093" y="0"/>
            <a:ext cx="2169991" cy="5054314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7204" tIns="33602" rIns="67204" bIns="33602" numCol="1" anchor="t" anchorCtr="0" compatLnSpc="1">
            <a:prstTxWarp prst="textNoShape">
              <a:avLst/>
            </a:prstTxWarp>
          </a:bodyPr>
          <a:lstStyle/>
          <a:p>
            <a:endParaRPr lang="en-US" sz="1176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385309" y="385741"/>
            <a:ext cx="797448" cy="79375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76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176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4424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25817" y="201847"/>
            <a:ext cx="2025253" cy="4300600"/>
          </a:xfrm>
          <a:prstGeom prst="rect">
            <a:avLst/>
          </a:prstGeom>
        </p:spPr>
        <p:txBody>
          <a:bodyPr vert="eaVert" lIns="80220" tIns="40110" rIns="80220" bIns="40110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0056" y="201847"/>
            <a:ext cx="5925741" cy="4300600"/>
          </a:xfrm>
          <a:prstGeom prst="rect">
            <a:avLst/>
          </a:prstGeom>
        </p:spPr>
        <p:txBody>
          <a:bodyPr vert="eaVert" lIns="80220" tIns="40110" rIns="80220" bIns="4011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0057" y="4671625"/>
            <a:ext cx="2100263" cy="268350"/>
          </a:xfrm>
          <a:prstGeom prst="rect">
            <a:avLst/>
          </a:prstGeom>
        </p:spPr>
        <p:txBody>
          <a:bodyPr lIns="80220" tIns="40110" rIns="80220" bIns="40110"/>
          <a:lstStyle/>
          <a:p>
            <a:pPr defTabSz="802202"/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  <a:pPr defTabSz="802202"/>
              <a:t>2023/7/14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075385" y="4671625"/>
            <a:ext cx="2850356" cy="268350"/>
          </a:xfrm>
          <a:prstGeom prst="rect">
            <a:avLst/>
          </a:prstGeom>
        </p:spPr>
        <p:txBody>
          <a:bodyPr lIns="80220" tIns="40110" rIns="80220" bIns="40110"/>
          <a:lstStyle/>
          <a:p>
            <a:pPr defTabSz="802202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450807" y="4671625"/>
            <a:ext cx="2100263" cy="268350"/>
          </a:xfrm>
          <a:prstGeom prst="rect">
            <a:avLst/>
          </a:prstGeom>
        </p:spPr>
        <p:txBody>
          <a:bodyPr lIns="80220" tIns="40110" rIns="80220" bIns="40110"/>
          <a:lstStyle/>
          <a:p>
            <a:pPr defTabSz="802202"/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  <a:pPr defTabSz="802202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771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2 (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3779" y="1273250"/>
            <a:ext cx="2673334" cy="435792"/>
          </a:xfrm>
        </p:spPr>
        <p:txBody>
          <a:bodyPr anchor="b"/>
          <a:lstStyle>
            <a:lvl1pPr marL="0" indent="0" algn="l">
              <a:buNone/>
              <a:defRPr sz="1470">
                <a:solidFill>
                  <a:schemeClr val="bg1"/>
                </a:solidFill>
              </a:defRPr>
            </a:lvl1pPr>
            <a:lvl2pPr marL="0" indent="0" algn="l">
              <a:buNone/>
              <a:defRPr sz="1470">
                <a:solidFill>
                  <a:schemeClr val="bg1"/>
                </a:solidFill>
              </a:defRPr>
            </a:lvl2pPr>
            <a:lvl3pPr marL="0" indent="0" algn="l">
              <a:buNone/>
              <a:defRPr sz="1470">
                <a:solidFill>
                  <a:schemeClr val="bg1"/>
                </a:solidFill>
              </a:defRPr>
            </a:lvl3pPr>
            <a:lvl4pPr marL="0" indent="0" algn="l">
              <a:buNone/>
              <a:defRPr sz="1470">
                <a:solidFill>
                  <a:schemeClr val="bg1"/>
                </a:solidFill>
              </a:defRPr>
            </a:lvl4pPr>
            <a:lvl5pPr marL="0" indent="0" algn="l">
              <a:buNone/>
              <a:defRPr sz="1470">
                <a:solidFill>
                  <a:schemeClr val="bg1"/>
                </a:solidFill>
              </a:defRPr>
            </a:lvl5pPr>
            <a:lvl6pPr marL="0" indent="0" algn="l">
              <a:buNone/>
              <a:defRPr sz="1470">
                <a:solidFill>
                  <a:schemeClr val="bg1"/>
                </a:solidFill>
              </a:defRPr>
            </a:lvl6pPr>
            <a:lvl7pPr marL="0" indent="0" algn="l">
              <a:buNone/>
              <a:defRPr sz="1470">
                <a:solidFill>
                  <a:schemeClr val="bg1"/>
                </a:solidFill>
              </a:defRPr>
            </a:lvl7pPr>
            <a:lvl8pPr marL="0" indent="0" algn="l">
              <a:buNone/>
              <a:defRPr sz="1470">
                <a:solidFill>
                  <a:schemeClr val="bg1"/>
                </a:solidFill>
              </a:defRPr>
            </a:lvl8pPr>
            <a:lvl9pPr marL="0" indent="0" algn="l">
              <a:buNone/>
              <a:defRPr sz="147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23923" y="1782225"/>
            <a:ext cx="2673190" cy="1058333"/>
          </a:xfrm>
        </p:spPr>
        <p:txBody>
          <a:bodyPr anchor="t"/>
          <a:lstStyle>
            <a:lvl1pPr>
              <a:defRPr sz="2352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17989" y="2969998"/>
            <a:ext cx="355035" cy="13208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730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72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44360" y="3132484"/>
            <a:ext cx="2152753" cy="7937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23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8102" y="518032"/>
            <a:ext cx="531632" cy="52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BEC00A-2D48-4013-B391-8772109AC8D8}"/>
              </a:ext>
            </a:extLst>
          </p:cNvPr>
          <p:cNvSpPr/>
          <p:nvPr/>
        </p:nvSpPr>
        <p:spPr bwMode="gray">
          <a:xfrm>
            <a:off x="3009227" y="0"/>
            <a:ext cx="5991898" cy="5040313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76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D2C6F70-E75D-475F-B419-269CCB1A79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036851" y="0"/>
            <a:ext cx="2942217" cy="5040313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9BAE79B-A563-4FC7-B9F7-A23D4B7F09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025311" y="0"/>
            <a:ext cx="2950067" cy="5040313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F2288D79-07BA-4239-B9FD-72BB7BF32D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077820" y="0"/>
            <a:ext cx="1925063" cy="4750682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A56B1E33-75AC-4D5C-833A-CA5C8008C847}"/>
              </a:ext>
            </a:extLst>
          </p:cNvPr>
          <p:cNvSpPr/>
          <p:nvPr/>
        </p:nvSpPr>
        <p:spPr bwMode="gray">
          <a:xfrm>
            <a:off x="51372" y="0"/>
            <a:ext cx="146777" cy="97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76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AFC5990D-0BBE-4F16-8156-3BC1019B8FD3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385309" y="385741"/>
            <a:ext cx="797448" cy="79375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76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176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2624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3779" y="1273250"/>
            <a:ext cx="2673334" cy="435792"/>
          </a:xfrm>
        </p:spPr>
        <p:txBody>
          <a:bodyPr anchor="b"/>
          <a:lstStyle>
            <a:lvl1pPr marL="0" indent="0" algn="l">
              <a:buNone/>
              <a:defRPr sz="1470">
                <a:solidFill>
                  <a:schemeClr val="bg1"/>
                </a:solidFill>
              </a:defRPr>
            </a:lvl1pPr>
            <a:lvl2pPr marL="0" indent="0" algn="l">
              <a:buNone/>
              <a:defRPr sz="1470">
                <a:solidFill>
                  <a:schemeClr val="bg1"/>
                </a:solidFill>
              </a:defRPr>
            </a:lvl2pPr>
            <a:lvl3pPr marL="0" indent="0" algn="l">
              <a:buNone/>
              <a:defRPr sz="1470">
                <a:solidFill>
                  <a:schemeClr val="bg1"/>
                </a:solidFill>
              </a:defRPr>
            </a:lvl3pPr>
            <a:lvl4pPr marL="0" indent="0" algn="l">
              <a:buNone/>
              <a:defRPr sz="1470">
                <a:solidFill>
                  <a:schemeClr val="bg1"/>
                </a:solidFill>
              </a:defRPr>
            </a:lvl4pPr>
            <a:lvl5pPr marL="0" indent="0" algn="l">
              <a:buNone/>
              <a:defRPr sz="1470">
                <a:solidFill>
                  <a:schemeClr val="bg1"/>
                </a:solidFill>
              </a:defRPr>
            </a:lvl5pPr>
            <a:lvl6pPr marL="0" indent="0" algn="l">
              <a:buNone/>
              <a:defRPr sz="1470">
                <a:solidFill>
                  <a:schemeClr val="bg1"/>
                </a:solidFill>
              </a:defRPr>
            </a:lvl6pPr>
            <a:lvl7pPr marL="0" indent="0" algn="l">
              <a:buNone/>
              <a:defRPr sz="1470">
                <a:solidFill>
                  <a:schemeClr val="bg1"/>
                </a:solidFill>
              </a:defRPr>
            </a:lvl7pPr>
            <a:lvl8pPr marL="0" indent="0" algn="l">
              <a:buNone/>
              <a:defRPr sz="1470">
                <a:solidFill>
                  <a:schemeClr val="bg1"/>
                </a:solidFill>
              </a:defRPr>
            </a:lvl8pPr>
            <a:lvl9pPr marL="0" indent="0" algn="l">
              <a:buNone/>
              <a:defRPr sz="147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23923" y="1782225"/>
            <a:ext cx="2673190" cy="1058333"/>
          </a:xfrm>
        </p:spPr>
        <p:txBody>
          <a:bodyPr anchor="t"/>
          <a:lstStyle>
            <a:lvl1pPr>
              <a:defRPr sz="2352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17989" y="2969998"/>
            <a:ext cx="355035" cy="13208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730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72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44360" y="3132484"/>
            <a:ext cx="2152753" cy="7937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23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8102" y="518032"/>
            <a:ext cx="531632" cy="52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/>
        </p:nvSpPr>
        <p:spPr bwMode="gray">
          <a:xfrm>
            <a:off x="3009227" y="0"/>
            <a:ext cx="5991898" cy="5040313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76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036851" y="0"/>
            <a:ext cx="2942217" cy="5040313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5025311" y="0"/>
            <a:ext cx="2950067" cy="5040313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7077820" y="0"/>
            <a:ext cx="1925063" cy="4750682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/>
        </p:nvSpPr>
        <p:spPr bwMode="gray">
          <a:xfrm>
            <a:off x="51372" y="0"/>
            <a:ext cx="146777" cy="97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76"/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385309" y="385741"/>
            <a:ext cx="797448" cy="79375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76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176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8065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3779" y="1273250"/>
            <a:ext cx="2673334" cy="435792"/>
          </a:xfrm>
        </p:spPr>
        <p:txBody>
          <a:bodyPr anchor="b"/>
          <a:lstStyle>
            <a:lvl1pPr marL="0" indent="0" algn="l">
              <a:buNone/>
              <a:defRPr sz="1470">
                <a:solidFill>
                  <a:schemeClr val="bg1"/>
                </a:solidFill>
              </a:defRPr>
            </a:lvl1pPr>
            <a:lvl2pPr marL="0" indent="0" algn="l">
              <a:buNone/>
              <a:defRPr sz="1470">
                <a:solidFill>
                  <a:schemeClr val="bg1"/>
                </a:solidFill>
              </a:defRPr>
            </a:lvl2pPr>
            <a:lvl3pPr marL="0" indent="0" algn="l">
              <a:buNone/>
              <a:defRPr sz="1470">
                <a:solidFill>
                  <a:schemeClr val="bg1"/>
                </a:solidFill>
              </a:defRPr>
            </a:lvl3pPr>
            <a:lvl4pPr marL="0" indent="0" algn="l">
              <a:buNone/>
              <a:defRPr sz="1470">
                <a:solidFill>
                  <a:schemeClr val="bg1"/>
                </a:solidFill>
              </a:defRPr>
            </a:lvl4pPr>
            <a:lvl5pPr marL="0" indent="0" algn="l">
              <a:buNone/>
              <a:defRPr sz="1470">
                <a:solidFill>
                  <a:schemeClr val="bg1"/>
                </a:solidFill>
              </a:defRPr>
            </a:lvl5pPr>
            <a:lvl6pPr marL="0" indent="0" algn="l">
              <a:buNone/>
              <a:defRPr sz="1470">
                <a:solidFill>
                  <a:schemeClr val="bg1"/>
                </a:solidFill>
              </a:defRPr>
            </a:lvl6pPr>
            <a:lvl7pPr marL="0" indent="0" algn="l">
              <a:buNone/>
              <a:defRPr sz="1470">
                <a:solidFill>
                  <a:schemeClr val="bg1"/>
                </a:solidFill>
              </a:defRPr>
            </a:lvl7pPr>
            <a:lvl8pPr marL="0" indent="0" algn="l">
              <a:buNone/>
              <a:defRPr sz="1470">
                <a:solidFill>
                  <a:schemeClr val="bg1"/>
                </a:solidFill>
              </a:defRPr>
            </a:lvl8pPr>
            <a:lvl9pPr marL="0" indent="0" algn="l">
              <a:buNone/>
              <a:defRPr sz="147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23923" y="1782225"/>
            <a:ext cx="2673190" cy="1058333"/>
          </a:xfrm>
        </p:spPr>
        <p:txBody>
          <a:bodyPr anchor="t"/>
          <a:lstStyle>
            <a:lvl1pPr>
              <a:defRPr sz="2352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17989" y="2969998"/>
            <a:ext cx="355035" cy="13208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730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7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44360" y="3132484"/>
            <a:ext cx="2152753" cy="7937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23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10986" y="0"/>
            <a:ext cx="5991898" cy="5040313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8102" y="518032"/>
            <a:ext cx="531632" cy="52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350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75085" y="1565764"/>
            <a:ext cx="7650956" cy="10804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50169" y="2856177"/>
            <a:ext cx="6300788" cy="128808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011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22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34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4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5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8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9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Picture 4" descr="C:\Documents and Settings\Administrator\桌面\新建文件夹\封面\复件 (27) 复件 4\3ea28d6d5df8d0711111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5293"/>
            <a:ext cx="9023519" cy="5075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0941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0884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/>
        </p:nvSpPr>
        <p:spPr bwMode="gray">
          <a:xfrm>
            <a:off x="3009227" y="0"/>
            <a:ext cx="5991898" cy="5040313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76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3779" y="1273250"/>
            <a:ext cx="2673334" cy="435792"/>
          </a:xfrm>
        </p:spPr>
        <p:txBody>
          <a:bodyPr anchor="b"/>
          <a:lstStyle>
            <a:lvl1pPr marL="0" indent="0" algn="l">
              <a:buNone/>
              <a:defRPr sz="1470">
                <a:solidFill>
                  <a:schemeClr val="bg1"/>
                </a:solidFill>
              </a:defRPr>
            </a:lvl1pPr>
            <a:lvl2pPr marL="0" indent="0" algn="l">
              <a:buNone/>
              <a:defRPr sz="1470">
                <a:solidFill>
                  <a:schemeClr val="bg1"/>
                </a:solidFill>
              </a:defRPr>
            </a:lvl2pPr>
            <a:lvl3pPr marL="0" indent="0" algn="l">
              <a:buNone/>
              <a:defRPr sz="1470">
                <a:solidFill>
                  <a:schemeClr val="bg1"/>
                </a:solidFill>
              </a:defRPr>
            </a:lvl3pPr>
            <a:lvl4pPr marL="0" indent="0" algn="l">
              <a:buNone/>
              <a:defRPr sz="1470">
                <a:solidFill>
                  <a:schemeClr val="bg1"/>
                </a:solidFill>
              </a:defRPr>
            </a:lvl4pPr>
            <a:lvl5pPr marL="0" indent="0" algn="l">
              <a:buNone/>
              <a:defRPr sz="1470">
                <a:solidFill>
                  <a:schemeClr val="bg1"/>
                </a:solidFill>
              </a:defRPr>
            </a:lvl5pPr>
            <a:lvl6pPr marL="0" indent="0" algn="l">
              <a:buNone/>
              <a:defRPr sz="1470">
                <a:solidFill>
                  <a:schemeClr val="bg1"/>
                </a:solidFill>
              </a:defRPr>
            </a:lvl6pPr>
            <a:lvl7pPr marL="0" indent="0" algn="l">
              <a:buNone/>
              <a:defRPr sz="1470">
                <a:solidFill>
                  <a:schemeClr val="bg1"/>
                </a:solidFill>
              </a:defRPr>
            </a:lvl7pPr>
            <a:lvl8pPr marL="0" indent="0" algn="l">
              <a:buNone/>
              <a:defRPr sz="1470">
                <a:solidFill>
                  <a:schemeClr val="bg1"/>
                </a:solidFill>
              </a:defRPr>
            </a:lvl8pPr>
            <a:lvl9pPr marL="0" indent="0" algn="l">
              <a:buNone/>
              <a:defRPr sz="147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23923" y="1782225"/>
            <a:ext cx="2673190" cy="1058333"/>
          </a:xfrm>
        </p:spPr>
        <p:txBody>
          <a:bodyPr anchor="t"/>
          <a:lstStyle>
            <a:lvl1pPr>
              <a:defRPr sz="2352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17989" y="2969998"/>
            <a:ext cx="355035" cy="13208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730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72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44360" y="3132484"/>
            <a:ext cx="2152753" cy="7937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23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8102" y="518032"/>
            <a:ext cx="531632" cy="52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36852" y="0"/>
            <a:ext cx="5966032" cy="5040313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385309" y="385741"/>
            <a:ext cx="797448" cy="79375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76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176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9219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3779" y="1273250"/>
            <a:ext cx="2673334" cy="435792"/>
          </a:xfrm>
        </p:spPr>
        <p:txBody>
          <a:bodyPr anchor="b"/>
          <a:lstStyle>
            <a:lvl1pPr marL="0" indent="0" algn="l">
              <a:buNone/>
              <a:defRPr sz="1470">
                <a:solidFill>
                  <a:schemeClr val="bg1"/>
                </a:solidFill>
              </a:defRPr>
            </a:lvl1pPr>
            <a:lvl2pPr marL="0" indent="0" algn="l">
              <a:buNone/>
              <a:defRPr sz="1470">
                <a:solidFill>
                  <a:schemeClr val="bg1"/>
                </a:solidFill>
              </a:defRPr>
            </a:lvl2pPr>
            <a:lvl3pPr marL="0" indent="0" algn="l">
              <a:buNone/>
              <a:defRPr sz="1470">
                <a:solidFill>
                  <a:schemeClr val="bg1"/>
                </a:solidFill>
              </a:defRPr>
            </a:lvl3pPr>
            <a:lvl4pPr marL="0" indent="0" algn="l">
              <a:buNone/>
              <a:defRPr sz="1470">
                <a:solidFill>
                  <a:schemeClr val="bg1"/>
                </a:solidFill>
              </a:defRPr>
            </a:lvl4pPr>
            <a:lvl5pPr marL="0" indent="0" algn="l">
              <a:buNone/>
              <a:defRPr sz="1470">
                <a:solidFill>
                  <a:schemeClr val="bg1"/>
                </a:solidFill>
              </a:defRPr>
            </a:lvl5pPr>
            <a:lvl6pPr marL="0" indent="0" algn="l">
              <a:buNone/>
              <a:defRPr sz="1470">
                <a:solidFill>
                  <a:schemeClr val="bg1"/>
                </a:solidFill>
              </a:defRPr>
            </a:lvl6pPr>
            <a:lvl7pPr marL="0" indent="0" algn="l">
              <a:buNone/>
              <a:defRPr sz="1470">
                <a:solidFill>
                  <a:schemeClr val="bg1"/>
                </a:solidFill>
              </a:defRPr>
            </a:lvl7pPr>
            <a:lvl8pPr marL="0" indent="0" algn="l">
              <a:buNone/>
              <a:defRPr sz="1470">
                <a:solidFill>
                  <a:schemeClr val="bg1"/>
                </a:solidFill>
              </a:defRPr>
            </a:lvl8pPr>
            <a:lvl9pPr marL="0" indent="0" algn="l">
              <a:buNone/>
              <a:defRPr sz="147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23923" y="1782225"/>
            <a:ext cx="2673190" cy="1058333"/>
          </a:xfrm>
        </p:spPr>
        <p:txBody>
          <a:bodyPr anchor="t"/>
          <a:lstStyle>
            <a:lvl1pPr>
              <a:defRPr sz="2352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17989" y="2969998"/>
            <a:ext cx="355035" cy="13208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730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72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44360" y="3132484"/>
            <a:ext cx="2152753" cy="7937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23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8102" y="518032"/>
            <a:ext cx="531632" cy="52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/>
        </p:nvSpPr>
        <p:spPr bwMode="gray">
          <a:xfrm>
            <a:off x="3009227" y="0"/>
            <a:ext cx="5991898" cy="5040313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76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36852" y="0"/>
            <a:ext cx="5966032" cy="5040313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385309" y="385741"/>
            <a:ext cx="797448" cy="79375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76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176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2241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/>
        </p:nvSpPr>
        <p:spPr bwMode="gray">
          <a:xfrm>
            <a:off x="3009227" y="0"/>
            <a:ext cx="5991898" cy="5040313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76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3779" y="1273250"/>
            <a:ext cx="2673334" cy="435792"/>
          </a:xfrm>
        </p:spPr>
        <p:txBody>
          <a:bodyPr anchor="b"/>
          <a:lstStyle>
            <a:lvl1pPr marL="0" indent="0" algn="l">
              <a:buNone/>
              <a:defRPr sz="1470">
                <a:solidFill>
                  <a:schemeClr val="bg1"/>
                </a:solidFill>
              </a:defRPr>
            </a:lvl1pPr>
            <a:lvl2pPr marL="0" indent="0" algn="l">
              <a:buNone/>
              <a:defRPr sz="1470">
                <a:solidFill>
                  <a:schemeClr val="bg1"/>
                </a:solidFill>
              </a:defRPr>
            </a:lvl2pPr>
            <a:lvl3pPr marL="0" indent="0" algn="l">
              <a:buNone/>
              <a:defRPr sz="1470">
                <a:solidFill>
                  <a:schemeClr val="bg1"/>
                </a:solidFill>
              </a:defRPr>
            </a:lvl3pPr>
            <a:lvl4pPr marL="0" indent="0" algn="l">
              <a:buNone/>
              <a:defRPr sz="1470">
                <a:solidFill>
                  <a:schemeClr val="bg1"/>
                </a:solidFill>
              </a:defRPr>
            </a:lvl4pPr>
            <a:lvl5pPr marL="0" indent="0" algn="l">
              <a:buNone/>
              <a:defRPr sz="1470">
                <a:solidFill>
                  <a:schemeClr val="bg1"/>
                </a:solidFill>
              </a:defRPr>
            </a:lvl5pPr>
            <a:lvl6pPr marL="0" indent="0" algn="l">
              <a:buNone/>
              <a:defRPr sz="1470">
                <a:solidFill>
                  <a:schemeClr val="bg1"/>
                </a:solidFill>
              </a:defRPr>
            </a:lvl6pPr>
            <a:lvl7pPr marL="0" indent="0" algn="l">
              <a:buNone/>
              <a:defRPr sz="1470">
                <a:solidFill>
                  <a:schemeClr val="bg1"/>
                </a:solidFill>
              </a:defRPr>
            </a:lvl7pPr>
            <a:lvl8pPr marL="0" indent="0" algn="l">
              <a:buNone/>
              <a:defRPr sz="1470">
                <a:solidFill>
                  <a:schemeClr val="bg1"/>
                </a:solidFill>
              </a:defRPr>
            </a:lvl8pPr>
            <a:lvl9pPr marL="0" indent="0" algn="l">
              <a:buNone/>
              <a:defRPr sz="147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23923" y="1782225"/>
            <a:ext cx="2673190" cy="1058333"/>
          </a:xfrm>
        </p:spPr>
        <p:txBody>
          <a:bodyPr anchor="t"/>
          <a:lstStyle>
            <a:lvl1pPr>
              <a:defRPr sz="2352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17989" y="2969998"/>
            <a:ext cx="355035" cy="13208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730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72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44360" y="3132484"/>
            <a:ext cx="2152753" cy="7937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23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72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18102" y="518032"/>
            <a:ext cx="531632" cy="52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36852" y="0"/>
            <a:ext cx="5966032" cy="5040313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385309" y="385741"/>
            <a:ext cx="797448" cy="79375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76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176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71841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459599" y="296583"/>
            <a:ext cx="7106145" cy="635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1480695" y="1355049"/>
            <a:ext cx="3455606" cy="3410943"/>
          </a:xfrm>
        </p:spPr>
        <p:txBody>
          <a:bodyPr/>
          <a:lstStyle>
            <a:lvl1pPr marL="198450" indent="-198450">
              <a:spcBef>
                <a:spcPts val="1323"/>
              </a:spcBef>
              <a:spcAft>
                <a:spcPts val="0"/>
              </a:spcAft>
              <a:buFontTx/>
              <a:buBlip>
                <a:blip r:embed="rId3"/>
              </a:buBlip>
              <a:defRPr sz="1470"/>
            </a:lvl1pPr>
            <a:lvl2pPr marL="396900" indent="-198450">
              <a:spcBef>
                <a:spcPts val="441"/>
              </a:spcBef>
              <a:spcAft>
                <a:spcPts val="0"/>
              </a:spcAft>
              <a:buFontTx/>
              <a:buBlip>
                <a:blip r:embed="rId4"/>
              </a:buBlip>
              <a:defRPr sz="1470"/>
            </a:lvl2pPr>
            <a:lvl3pPr marL="595350" indent="-198450">
              <a:spcBef>
                <a:spcPts val="441"/>
              </a:spcBef>
              <a:spcAft>
                <a:spcPts val="0"/>
              </a:spcAft>
              <a:buFontTx/>
              <a:buBlip>
                <a:blip r:embed="rId5"/>
              </a:buBlip>
              <a:defRPr sz="1470"/>
            </a:lvl3pPr>
            <a:lvl4pPr marL="793800" indent="-198450">
              <a:spcBef>
                <a:spcPts val="441"/>
              </a:spcBef>
              <a:spcAft>
                <a:spcPts val="0"/>
              </a:spcAft>
              <a:buFontTx/>
              <a:buBlip>
                <a:blip r:embed="rId6"/>
              </a:buBlip>
              <a:defRPr sz="1470"/>
            </a:lvl4pPr>
            <a:lvl5pPr>
              <a:spcBef>
                <a:spcPts val="441"/>
              </a:spcBef>
              <a:spcAft>
                <a:spcPts val="0"/>
              </a:spcAft>
              <a:defRPr sz="1470"/>
            </a:lvl5pPr>
            <a:lvl6pPr>
              <a:spcBef>
                <a:spcPts val="441"/>
              </a:spcBef>
              <a:spcAft>
                <a:spcPts val="0"/>
              </a:spcAft>
              <a:defRPr sz="1470"/>
            </a:lvl6pPr>
            <a:lvl7pPr>
              <a:spcBef>
                <a:spcPts val="441"/>
              </a:spcBef>
              <a:spcAft>
                <a:spcPts val="0"/>
              </a:spcAft>
              <a:defRPr sz="1470"/>
            </a:lvl7pPr>
            <a:lvl8pPr>
              <a:spcBef>
                <a:spcPts val="441"/>
              </a:spcBef>
              <a:spcAft>
                <a:spcPts val="0"/>
              </a:spcAft>
              <a:defRPr sz="1470"/>
            </a:lvl8pPr>
            <a:lvl9pPr>
              <a:spcBef>
                <a:spcPts val="441"/>
              </a:spcBef>
              <a:spcAft>
                <a:spcPts val="0"/>
              </a:spcAft>
              <a:defRPr sz="14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719676" y="4863875"/>
            <a:ext cx="4216626" cy="7937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44606" y="4863875"/>
            <a:ext cx="289685" cy="79375"/>
          </a:xfr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8217" y="518032"/>
            <a:ext cx="531632" cy="52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5762471" y="1"/>
            <a:ext cx="3238654" cy="5040313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6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176"/>
            </a:p>
          </p:txBody>
        </p:sp>
      </p:grpSp>
      <p:sp>
        <p:nvSpPr>
          <p:cNvPr id="6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385309" y="385741"/>
            <a:ext cx="797448" cy="79375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76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176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9833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1"/>
            <a:ext cx="1553971" cy="5042646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7204" tIns="33602" rIns="67204" bIns="33602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176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5055003" y="2252526"/>
            <a:ext cx="3322698" cy="529167"/>
          </a:xfrm>
        </p:spPr>
        <p:txBody>
          <a:bodyPr anchor="t"/>
          <a:lstStyle>
            <a:lvl1pPr marL="0" indent="0" algn="l">
              <a:buNone/>
              <a:defRPr sz="1764" b="1">
                <a:solidFill>
                  <a:schemeClr val="accent1"/>
                </a:solidFill>
              </a:defRPr>
            </a:lvl1pPr>
            <a:lvl2pPr marL="0" indent="0" algn="l">
              <a:buNone/>
              <a:defRPr sz="1764" b="1">
                <a:solidFill>
                  <a:schemeClr val="accent1"/>
                </a:solidFill>
              </a:defRPr>
            </a:lvl2pPr>
            <a:lvl3pPr marL="0" indent="0" algn="l">
              <a:buNone/>
              <a:defRPr sz="1764" b="1">
                <a:solidFill>
                  <a:schemeClr val="accent1"/>
                </a:solidFill>
              </a:defRPr>
            </a:lvl3pPr>
            <a:lvl4pPr marL="0" indent="0" algn="l">
              <a:buNone/>
              <a:defRPr sz="1764" b="1">
                <a:solidFill>
                  <a:schemeClr val="accent1"/>
                </a:solidFill>
              </a:defRPr>
            </a:lvl4pPr>
            <a:lvl5pPr marL="0" indent="0" algn="l">
              <a:buNone/>
              <a:defRPr sz="1764" b="1">
                <a:solidFill>
                  <a:schemeClr val="accent1"/>
                </a:solidFill>
              </a:defRPr>
            </a:lvl5pPr>
            <a:lvl6pPr marL="0" indent="0" algn="l">
              <a:buNone/>
              <a:defRPr sz="1764" b="1">
                <a:solidFill>
                  <a:schemeClr val="accent1"/>
                </a:solidFill>
              </a:defRPr>
            </a:lvl6pPr>
            <a:lvl7pPr marL="0" indent="0" algn="l">
              <a:buNone/>
              <a:defRPr sz="1764" b="1">
                <a:solidFill>
                  <a:schemeClr val="accent1"/>
                </a:solidFill>
              </a:defRPr>
            </a:lvl7pPr>
            <a:lvl8pPr marL="0" indent="0" algn="l">
              <a:buNone/>
              <a:defRPr sz="1764" b="1">
                <a:solidFill>
                  <a:schemeClr val="accent1"/>
                </a:solidFill>
              </a:defRPr>
            </a:lvl8pPr>
            <a:lvl9pPr marL="0" indent="0" algn="l">
              <a:buNone/>
              <a:defRPr sz="1764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336426" y="1083250"/>
            <a:ext cx="3056882" cy="1058887"/>
          </a:xfrm>
        </p:spPr>
        <p:txBody>
          <a:bodyPr anchor="b"/>
          <a:lstStyle>
            <a:lvl1pPr algn="r">
              <a:defRPr sz="3528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3477839" y="1"/>
            <a:ext cx="1914989" cy="5040313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6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6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5977" y="453980"/>
            <a:ext cx="291842" cy="29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63505" y="374329"/>
            <a:ext cx="451887" cy="449792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62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62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19565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4238232" y="0"/>
            <a:ext cx="4762894" cy="5040313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176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176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1553971" cy="5042063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7204" tIns="33602" rIns="67204" bIns="33602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176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931170" y="2197022"/>
            <a:ext cx="3322698" cy="1058887"/>
          </a:xfrm>
        </p:spPr>
        <p:txBody>
          <a:bodyPr anchor="t"/>
          <a:lstStyle>
            <a:lvl1pPr algn="l">
              <a:defRPr sz="3528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404534" y="1568869"/>
            <a:ext cx="3322698" cy="529167"/>
          </a:xfrm>
        </p:spPr>
        <p:txBody>
          <a:bodyPr anchor="b"/>
          <a:lstStyle>
            <a:lvl1pPr marL="0" indent="0" algn="r">
              <a:buNone/>
              <a:defRPr sz="1764" b="1">
                <a:solidFill>
                  <a:schemeClr val="accent1"/>
                </a:solidFill>
              </a:defRPr>
            </a:lvl1pPr>
            <a:lvl2pPr marL="0" indent="0" algn="l">
              <a:buNone/>
              <a:defRPr sz="1764" b="1">
                <a:solidFill>
                  <a:schemeClr val="accent1"/>
                </a:solidFill>
              </a:defRPr>
            </a:lvl2pPr>
            <a:lvl3pPr marL="0" indent="0" algn="l">
              <a:buNone/>
              <a:defRPr sz="1764" b="1">
                <a:solidFill>
                  <a:schemeClr val="accent1"/>
                </a:solidFill>
              </a:defRPr>
            </a:lvl3pPr>
            <a:lvl4pPr marL="0" indent="0" algn="l">
              <a:buNone/>
              <a:defRPr sz="1764" b="1">
                <a:solidFill>
                  <a:schemeClr val="accent1"/>
                </a:solidFill>
              </a:defRPr>
            </a:lvl4pPr>
            <a:lvl5pPr marL="0" indent="0" algn="l">
              <a:buNone/>
              <a:defRPr sz="1764" b="1">
                <a:solidFill>
                  <a:schemeClr val="accent1"/>
                </a:solidFill>
              </a:defRPr>
            </a:lvl5pPr>
            <a:lvl6pPr marL="0" indent="0" algn="l">
              <a:buNone/>
              <a:defRPr sz="1764" b="1">
                <a:solidFill>
                  <a:schemeClr val="accent1"/>
                </a:solidFill>
              </a:defRPr>
            </a:lvl6pPr>
            <a:lvl7pPr marL="0" indent="0" algn="l">
              <a:buNone/>
              <a:defRPr sz="1764" b="1">
                <a:solidFill>
                  <a:schemeClr val="accent1"/>
                </a:solidFill>
              </a:defRPr>
            </a:lvl7pPr>
            <a:lvl8pPr marL="0" indent="0" algn="l">
              <a:buNone/>
              <a:defRPr sz="1764" b="1">
                <a:solidFill>
                  <a:schemeClr val="accent1"/>
                </a:solidFill>
              </a:defRPr>
            </a:lvl8pPr>
            <a:lvl9pPr marL="0" indent="0" algn="l">
              <a:buNone/>
              <a:defRPr sz="1764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45977" y="453980"/>
            <a:ext cx="291842" cy="29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63505" y="374329"/>
            <a:ext cx="451887" cy="449792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62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62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30540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4862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txStyles>
    <p:titleStyle>
      <a:lvl1pPr algn="ctr" defTabSz="802202" rtl="0" eaLnBrk="1" latinLnBrk="0" hangingPunct="1">
        <a:spcBef>
          <a:spcPct val="0"/>
        </a:spcBef>
        <a:buNone/>
        <a:defRPr sz="3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0825" indent="-300825" algn="l" defTabSz="8022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51789" indent="-250688" algn="l" defTabSz="802202" rtl="0" eaLnBrk="1" latinLnBrk="0" hangingPunct="1">
        <a:spcBef>
          <a:spcPct val="20000"/>
        </a:spcBef>
        <a:buFont typeface="Arial" panose="020B0604020202020204" pitchFamily="34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002752" indent="-200551" algn="l" defTabSz="8022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03853" indent="-200551" algn="l" defTabSz="802202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4956" indent="-200551" algn="l" defTabSz="802202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06056" indent="-200551" algn="l" defTabSz="802202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07157" indent="-200551" algn="l" defTabSz="802202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59" indent="-200551" algn="l" defTabSz="802202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09360" indent="-200551" algn="l" defTabSz="802202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0220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1101" algn="l" defTabSz="80220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2202" algn="l" defTabSz="80220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3304" algn="l" defTabSz="80220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4405" algn="l" defTabSz="80220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5506" algn="l" defTabSz="80220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6607" algn="l" defTabSz="80220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7708" algn="l" defTabSz="80220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8809" algn="l" defTabSz="80220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23817" y="1273492"/>
            <a:ext cx="7974476" cy="349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724955" y="133716"/>
            <a:ext cx="7973338" cy="635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211665" y="4863875"/>
            <a:ext cx="361030" cy="793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515">
                <a:noFill/>
              </a:defRPr>
            </a:lvl1pPr>
            <a:lvl2pPr marL="1167" indent="0" algn="r">
              <a:defRPr sz="515">
                <a:noFill/>
              </a:defRPr>
            </a:lvl2pPr>
            <a:lvl3pPr marL="0" indent="0" algn="r">
              <a:defRPr sz="515">
                <a:noFill/>
              </a:defRPr>
            </a:lvl3pPr>
            <a:lvl4pPr marL="0" indent="0" algn="r">
              <a:tabLst/>
              <a:defRPr sz="515">
                <a:noFill/>
              </a:defRPr>
            </a:lvl4pPr>
            <a:lvl5pPr marL="0" indent="0" algn="r">
              <a:defRPr sz="515">
                <a:noFill/>
              </a:defRPr>
            </a:lvl5pPr>
            <a:lvl6pPr marL="0" indent="0" algn="r">
              <a:defRPr sz="515">
                <a:noFill/>
              </a:defRPr>
            </a:lvl6pPr>
            <a:lvl7pPr marL="0" indent="0" algn="r">
              <a:defRPr sz="515">
                <a:noFill/>
              </a:defRPr>
            </a:lvl7pPr>
            <a:lvl8pPr marL="0" indent="0" algn="r">
              <a:defRPr sz="515">
                <a:noFill/>
              </a:defRPr>
            </a:lvl8pPr>
            <a:lvl9pPr marL="0" indent="0" algn="r">
              <a:defRPr sz="515">
                <a:noFill/>
              </a:defRPr>
            </a:lvl9pPr>
          </a:lstStyle>
          <a:p>
            <a:fld id="{530820CF-B880-4189-942D-D702A7CBA730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19676" y="4863875"/>
            <a:ext cx="6379580" cy="793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515">
                <a:solidFill>
                  <a:schemeClr val="accent1"/>
                </a:solidFill>
              </a:defRPr>
            </a:lvl1pPr>
            <a:lvl2pPr marL="0" indent="0">
              <a:defRPr sz="515">
                <a:solidFill>
                  <a:schemeClr val="accent1"/>
                </a:solidFill>
              </a:defRPr>
            </a:lvl2pPr>
            <a:lvl3pPr marL="0" indent="0">
              <a:defRPr sz="515">
                <a:solidFill>
                  <a:schemeClr val="accent1"/>
                </a:solidFill>
              </a:defRPr>
            </a:lvl3pPr>
            <a:lvl4pPr marL="0" indent="0">
              <a:defRPr sz="515">
                <a:solidFill>
                  <a:schemeClr val="accent1"/>
                </a:solidFill>
              </a:defRPr>
            </a:lvl4pPr>
            <a:lvl5pPr marL="0" indent="0">
              <a:defRPr sz="515">
                <a:solidFill>
                  <a:schemeClr val="accent1"/>
                </a:solidFill>
              </a:defRPr>
            </a:lvl5pPr>
            <a:lvl6pPr marL="0" indent="0">
              <a:tabLst/>
              <a:defRPr sz="515">
                <a:solidFill>
                  <a:schemeClr val="accent1"/>
                </a:solidFill>
              </a:defRPr>
            </a:lvl6pPr>
            <a:lvl7pPr marL="0" indent="0">
              <a:tabLst/>
              <a:defRPr sz="515">
                <a:solidFill>
                  <a:schemeClr val="accent1"/>
                </a:solidFill>
              </a:defRPr>
            </a:lvl7pPr>
            <a:lvl8pPr marL="0" indent="0">
              <a:defRPr sz="515">
                <a:solidFill>
                  <a:schemeClr val="accent1"/>
                </a:solidFill>
              </a:defRPr>
            </a:lvl8pPr>
            <a:lvl9pPr marL="0" indent="0">
              <a:defRPr sz="515">
                <a:solidFill>
                  <a:schemeClr val="accent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44606" y="4863875"/>
            <a:ext cx="289685" cy="793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515">
                <a:solidFill>
                  <a:schemeClr val="accent2"/>
                </a:solidFill>
              </a:defRPr>
            </a:lvl1pPr>
            <a:lvl2pPr marL="0" indent="0" algn="ctr">
              <a:defRPr sz="515">
                <a:solidFill>
                  <a:schemeClr val="accent2"/>
                </a:solidFill>
              </a:defRPr>
            </a:lvl2pPr>
            <a:lvl3pPr marL="0" indent="0" algn="ctr">
              <a:defRPr sz="515">
                <a:solidFill>
                  <a:schemeClr val="accent2"/>
                </a:solidFill>
              </a:defRPr>
            </a:lvl3pPr>
            <a:lvl4pPr marL="0" indent="0" algn="ctr">
              <a:defRPr sz="515">
                <a:solidFill>
                  <a:schemeClr val="accent2"/>
                </a:solidFill>
              </a:defRPr>
            </a:lvl4pPr>
            <a:lvl5pPr marL="0" indent="0" algn="ctr">
              <a:defRPr sz="515">
                <a:solidFill>
                  <a:schemeClr val="accent2"/>
                </a:solidFill>
              </a:defRPr>
            </a:lvl5pPr>
            <a:lvl6pPr marL="0" indent="0" algn="ctr">
              <a:defRPr sz="515">
                <a:solidFill>
                  <a:schemeClr val="accent2"/>
                </a:solidFill>
              </a:defRPr>
            </a:lvl6pPr>
            <a:lvl7pPr marL="0" indent="0" algn="ctr">
              <a:defRPr sz="515">
                <a:solidFill>
                  <a:schemeClr val="accent2"/>
                </a:solidFill>
              </a:defRPr>
            </a:lvl7pPr>
            <a:lvl8pPr marL="0" indent="0" algn="ctr">
              <a:defRPr sz="515">
                <a:solidFill>
                  <a:schemeClr val="accent2"/>
                </a:solidFill>
              </a:defRPr>
            </a:lvl8pPr>
            <a:lvl9pPr marL="0" indent="0" algn="ctr">
              <a:defRPr sz="515">
                <a:solidFill>
                  <a:schemeClr val="accent2"/>
                </a:solidFill>
              </a:defRPr>
            </a:lvl9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empower - DO NOT DELETE!!!" hidden="1"/>
          <p:cNvSpPr/>
          <p:nvPr>
            <p:custDataLst>
              <p:tags r:id="rId2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176"/>
          </a:p>
        </p:txBody>
      </p:sp>
    </p:spTree>
    <p:extLst>
      <p:ext uri="{BB962C8B-B14F-4D97-AF65-F5344CB8AC3E}">
        <p14:creationId xmlns:p14="http://schemas.microsoft.com/office/powerpoint/2010/main" val="4275013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72084" rtl="0" eaLnBrk="1" latinLnBrk="0" hangingPunct="1">
        <a:spcBef>
          <a:spcPct val="0"/>
        </a:spcBef>
        <a:buNone/>
        <a:defRPr sz="2058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72084" rtl="0" eaLnBrk="1" latinLnBrk="0" hangingPunct="1">
        <a:spcBef>
          <a:spcPts val="882"/>
        </a:spcBef>
        <a:spcAft>
          <a:spcPts val="441"/>
        </a:spcAft>
        <a:buFont typeface="Arial" panose="020B0604020202020204" pitchFamily="34" charset="0"/>
        <a:buNone/>
        <a:defRPr sz="1323" kern="1200">
          <a:solidFill>
            <a:schemeClr val="accent1"/>
          </a:solidFill>
          <a:latin typeface="+mn-lt"/>
          <a:ea typeface="+mn-ea"/>
          <a:cs typeface="+mn-cs"/>
        </a:defRPr>
      </a:lvl1pPr>
      <a:lvl2pPr marL="198450" indent="-198450" algn="l" defTabSz="672084" rtl="0" eaLnBrk="1" latinLnBrk="0" hangingPunct="1">
        <a:spcBef>
          <a:spcPts val="221"/>
        </a:spcBef>
        <a:spcAft>
          <a:spcPts val="441"/>
        </a:spcAft>
        <a:buFontTx/>
        <a:buBlip>
          <a:blip r:embed="rId23"/>
        </a:buBlip>
        <a:defRPr sz="1323" kern="1200">
          <a:solidFill>
            <a:schemeClr val="accent1"/>
          </a:solidFill>
          <a:latin typeface="+mn-lt"/>
          <a:ea typeface="+mn-ea"/>
          <a:cs typeface="+mn-cs"/>
        </a:defRPr>
      </a:lvl2pPr>
      <a:lvl3pPr marL="396900" indent="-198450" algn="l" defTabSz="672084" rtl="0" eaLnBrk="1" latinLnBrk="0" hangingPunct="1">
        <a:spcBef>
          <a:spcPts val="221"/>
        </a:spcBef>
        <a:spcAft>
          <a:spcPts val="441"/>
        </a:spcAft>
        <a:buFontTx/>
        <a:buBlip>
          <a:blip r:embed="rId24"/>
        </a:buBlip>
        <a:defRPr sz="1323" kern="1200">
          <a:solidFill>
            <a:schemeClr val="accent1"/>
          </a:solidFill>
          <a:latin typeface="+mn-lt"/>
          <a:ea typeface="+mn-ea"/>
          <a:cs typeface="+mn-cs"/>
        </a:defRPr>
      </a:lvl3pPr>
      <a:lvl4pPr marL="595350" indent="-198450" algn="l" defTabSz="672084" rtl="0" eaLnBrk="1" latinLnBrk="0" hangingPunct="1">
        <a:spcBef>
          <a:spcPts val="221"/>
        </a:spcBef>
        <a:spcAft>
          <a:spcPts val="441"/>
        </a:spcAft>
        <a:buFontTx/>
        <a:buBlip>
          <a:blip r:embed="rId25"/>
        </a:buBlip>
        <a:defRPr sz="1323" kern="1200">
          <a:solidFill>
            <a:schemeClr val="accent1"/>
          </a:solidFill>
          <a:latin typeface="+mn-lt"/>
          <a:ea typeface="+mn-ea"/>
          <a:cs typeface="+mn-cs"/>
        </a:defRPr>
      </a:lvl4pPr>
      <a:lvl5pPr marL="793800" indent="-198450" algn="l" defTabSz="672084" rtl="0" eaLnBrk="1" latinLnBrk="0" hangingPunct="1">
        <a:spcBef>
          <a:spcPts val="221"/>
        </a:spcBef>
        <a:spcAft>
          <a:spcPts val="441"/>
        </a:spcAft>
        <a:buFontTx/>
        <a:buBlip>
          <a:blip r:embed="rId26"/>
        </a:buBlip>
        <a:defRPr sz="1323" kern="1200">
          <a:solidFill>
            <a:schemeClr val="accent1"/>
          </a:solidFill>
          <a:latin typeface="+mn-lt"/>
          <a:ea typeface="+mn-ea"/>
          <a:cs typeface="+mn-cs"/>
        </a:defRPr>
      </a:lvl5pPr>
      <a:lvl6pPr marL="793800" indent="-198450" algn="l" defTabSz="672084" rtl="0" eaLnBrk="1" latinLnBrk="0" hangingPunct="1">
        <a:spcBef>
          <a:spcPts val="221"/>
        </a:spcBef>
        <a:spcAft>
          <a:spcPts val="441"/>
        </a:spcAft>
        <a:buFontTx/>
        <a:buBlip>
          <a:blip r:embed="rId26"/>
        </a:buBlip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793800" indent="-198450" algn="l" defTabSz="672084" rtl="0" eaLnBrk="1" latinLnBrk="0" hangingPunct="1">
        <a:spcBef>
          <a:spcPts val="221"/>
        </a:spcBef>
        <a:spcAft>
          <a:spcPts val="441"/>
        </a:spcAft>
        <a:buFontTx/>
        <a:buBlip>
          <a:blip r:embed="rId26"/>
        </a:buBlip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793800" indent="-198450" algn="l" defTabSz="672084" rtl="0" eaLnBrk="1" latinLnBrk="0" hangingPunct="1">
        <a:spcBef>
          <a:spcPts val="221"/>
        </a:spcBef>
        <a:spcAft>
          <a:spcPts val="441"/>
        </a:spcAft>
        <a:buFontTx/>
        <a:buBlip>
          <a:blip r:embed="rId26"/>
        </a:buBlip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793800" indent="-198450" algn="l" defTabSz="672084" rtl="0" eaLnBrk="1" latinLnBrk="0" hangingPunct="1">
        <a:spcBef>
          <a:spcPts val="221"/>
        </a:spcBef>
        <a:spcAft>
          <a:spcPts val="441"/>
        </a:spcAft>
        <a:buFontTx/>
        <a:buBlip>
          <a:blip r:embed="rId26"/>
        </a:buBlip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hyperlink" Target="mailto:marco.soares@bayer.com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Placeholder 19" descr="A picture containing text&#10;&#10;Description automatically generated">
            <a:extLst>
              <a:ext uri="{FF2B5EF4-FFF2-40B4-BE49-F238E27FC236}">
                <a16:creationId xmlns:a16="http://schemas.microsoft.com/office/drawing/2014/main" id="{7D7456F6-BB31-4287-9E05-0F985B5D50E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84" r="24884"/>
          <a:stretch>
            <a:fillRect/>
          </a:stretch>
        </p:blipFill>
        <p:spPr>
          <a:xfrm>
            <a:off x="4500562" y="0"/>
            <a:ext cx="4500563" cy="5040313"/>
          </a:xfrm>
        </p:spPr>
      </p:pic>
      <p:sp>
        <p:nvSpPr>
          <p:cNvPr id="16" name="Subtitle 15">
            <a:extLst>
              <a:ext uri="{FF2B5EF4-FFF2-40B4-BE49-F238E27FC236}">
                <a16:creationId xmlns:a16="http://schemas.microsoft.com/office/drawing/2014/main" id="{E1705D10-49A0-45D1-B066-0131E45961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0963" y="1224012"/>
            <a:ext cx="4712447" cy="360040"/>
          </a:xfrm>
        </p:spPr>
        <p:txBody>
          <a:bodyPr/>
          <a:lstStyle/>
          <a:p>
            <a:r>
              <a:rPr lang="en-US" altLang="zh-CN" sz="16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n-ea"/>
                <a:cs typeface="+mn-ea"/>
                <a:sym typeface="+mn-lt"/>
              </a:rPr>
              <a:t>Agrochemical Production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69F3FA5-7478-4DE0-934B-D055B44FCC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2090" y="2001367"/>
            <a:ext cx="4621647" cy="929825"/>
          </a:xfrm>
        </p:spPr>
        <p:txBody>
          <a:bodyPr/>
          <a:lstStyle/>
          <a:p>
            <a:r>
              <a:rPr lang="en-US" altLang="zh-CN" sz="2400" dirty="0">
                <a:sym typeface="+mn-lt"/>
              </a:rPr>
              <a:t>Decision Science Case</a:t>
            </a:r>
            <a:endParaRPr lang="pt-BR" sz="24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E683CB8-0B6B-40EC-A7F6-DFAA9E8CEB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90" y="3143383"/>
            <a:ext cx="3672408" cy="1753037"/>
          </a:xfrm>
        </p:spPr>
        <p:txBody>
          <a:bodyPr/>
          <a:lstStyle/>
          <a:p>
            <a:r>
              <a:rPr lang="en-US" altLang="zh-CN" dirty="0">
                <a:sym typeface="+mn-lt"/>
              </a:rPr>
              <a:t>Presenter: Marco César Prado Soares</a:t>
            </a:r>
          </a:p>
          <a:p>
            <a:endParaRPr lang="en-US" altLang="zh-CN" dirty="0">
              <a:sym typeface="+mn-lt"/>
            </a:endParaRPr>
          </a:p>
          <a:p>
            <a:endParaRPr lang="en-US" altLang="zh-CN" dirty="0">
              <a:sym typeface="+mn-lt"/>
            </a:endParaRPr>
          </a:p>
          <a:p>
            <a:r>
              <a:rPr lang="en-US" altLang="zh-CN" dirty="0">
                <a:sym typeface="+mn-lt"/>
              </a:rPr>
              <a:t>Data Scientist Specialist - Bayer</a:t>
            </a:r>
          </a:p>
          <a:p>
            <a:endParaRPr lang="en-US" altLang="zh-CN" dirty="0">
              <a:sym typeface="+mn-lt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altLang="zh-CN" dirty="0">
                <a:sym typeface="+mn-lt"/>
              </a:rPr>
              <a:t>Bayer Crop Science</a:t>
            </a: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altLang="zh-CN" dirty="0">
                <a:sym typeface="+mn-lt"/>
              </a:rPr>
              <a:t>Decision Science Latin America</a:t>
            </a:r>
          </a:p>
          <a:p>
            <a:pPr indent="-171450">
              <a:buFont typeface="Arial" panose="020B0604020202020204" pitchFamily="34" charset="0"/>
              <a:buChar char="•"/>
            </a:pPr>
            <a:r>
              <a:rPr lang="en-US" altLang="zh-CN" dirty="0">
                <a:sym typeface="+mn-lt"/>
              </a:rPr>
              <a:t>Contact: </a:t>
            </a:r>
            <a:r>
              <a:rPr lang="en-US" altLang="zh-CN" dirty="0">
                <a:sym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co.soares@bayer.com</a:t>
            </a:r>
            <a:r>
              <a:rPr lang="en-US" altLang="zh-CN" dirty="0">
                <a:sym typeface="+mn-lt"/>
              </a:rPr>
              <a:t>  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5694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E180D4A7-C9FB-4DFB-919C-405C955672EB}">
      <p14:showEvtLst xmlns:p14="http://schemas.microsoft.com/office/powerpoint/2010/main">
        <p14:playEvt time="2527" objId="12"/>
      </p14:showEvtLst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>
            <a:extLst>
              <a:ext uri="{FF2B5EF4-FFF2-40B4-BE49-F238E27FC236}">
                <a16:creationId xmlns:a16="http://schemas.microsoft.com/office/drawing/2014/main" id="{AA6CD75B-175D-BD85-8033-39F95C98DC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55003" y="2252526"/>
            <a:ext cx="3322698" cy="529167"/>
          </a:xfrm>
        </p:spPr>
        <p:txBody>
          <a:bodyPr anchor="t">
            <a:normAutofit/>
          </a:bodyPr>
          <a:lstStyle/>
          <a:p>
            <a:r>
              <a:rPr lang="en-US"/>
              <a:t>Agrochemical productio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1A7C1C2-A7BD-9B7F-3DFD-1848A5EC9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6426" y="1083250"/>
            <a:ext cx="3056882" cy="1058887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/>
              <a:t>Case description</a:t>
            </a:r>
          </a:p>
        </p:txBody>
      </p:sp>
    </p:spTree>
    <p:extLst>
      <p:ext uri="{BB962C8B-B14F-4D97-AF65-F5344CB8AC3E}">
        <p14:creationId xmlns:p14="http://schemas.microsoft.com/office/powerpoint/2010/main" val="8037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>
            <a:extLst>
              <a:ext uri="{FF2B5EF4-FFF2-40B4-BE49-F238E27FC236}">
                <a16:creationId xmlns:a16="http://schemas.microsoft.com/office/drawing/2014/main" id="{AA6CD75B-175D-BD85-8033-39F95C98DC5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Agrochemical productio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1A7C1C2-A7BD-9B7F-3DFD-1848A5EC9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ase </a:t>
            </a:r>
            <a:r>
              <a:rPr lang="en-US" dirty="0"/>
              <a:t>description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1D88729-1673-01CC-A151-75CFF37D241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8114" y="1296020"/>
            <a:ext cx="8230179" cy="3528392"/>
          </a:xfrm>
        </p:spPr>
        <p:txBody>
          <a:bodyPr/>
          <a:lstStyle/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ar candidate</a:t>
            </a:r>
            <a:r>
              <a:rPr lang="pt-BR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pt-BR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285750" marR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attached dataset (“decision_science_dataset.csv”) represents the production of an important agrochemical. </a:t>
            </a:r>
          </a:p>
          <a:p>
            <a:pPr marL="285750" marR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many historian databases used on Chemical Industry, such as </a:t>
            </a:r>
            <a:r>
              <a:rPr lang="en-US" sz="18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eva</a:t>
            </a:r>
            <a:r>
              <a:rPr lang="en-US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en-US" sz="18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sisoft</a:t>
            </a:r>
            <a:r>
              <a:rPr lang="en-US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I System and </a:t>
            </a:r>
            <a:r>
              <a:rPr lang="en-US" sz="18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pentech</a:t>
            </a:r>
            <a:r>
              <a:rPr lang="en-US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P21 the columns, attributes, or variables from a dataset are stored as “tags”. Tags are usually data gathered from different sensors or manual inputs like chemical compositions.</a:t>
            </a:r>
          </a:p>
          <a:p>
            <a:pPr marL="285750" marR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r da</a:t>
            </a:r>
            <a:r>
              <a:rPr lang="en-US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et is consolidated and anonymized: all tags were normalized, the labels were removed, and the precise timestamps were removed. </a:t>
            </a:r>
          </a:p>
          <a:p>
            <a:pPr marL="285750" marR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e are 7 tags, and one is indicated as the key process indicator (KPI) of the process: “tag7_resp”.</a:t>
            </a:r>
            <a:endParaRPr lang="pt-BR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81459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1A7C1C2-A7BD-9B7F-3DFD-1848A5EC9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074" y="845820"/>
            <a:ext cx="3322698" cy="466059"/>
          </a:xfrm>
        </p:spPr>
        <p:txBody>
          <a:bodyPr/>
          <a:lstStyle/>
          <a:p>
            <a:r>
              <a:rPr lang="en-US"/>
              <a:t>Objectiv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1D88729-1673-01CC-A151-75CFF37D241B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430772" y="144015"/>
            <a:ext cx="5462279" cy="4824413"/>
          </a:xfrm>
        </p:spPr>
        <p:txBody>
          <a:bodyPr/>
          <a:lstStyle/>
          <a:p>
            <a:pPr marL="285750" marR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form an exploratory data analysis on the dataset.</a:t>
            </a:r>
          </a:p>
          <a:p>
            <a:pPr marL="285750" marR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ws us all information and insights you can gather from it.</a:t>
            </a:r>
          </a:p>
          <a:p>
            <a:pPr marL="285750" marR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y to bring 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ommendations of process improvement, find patterns, or any analytical insights you think could be interesting.</a:t>
            </a:r>
          </a:p>
          <a:p>
            <a:pPr marL="285750" marR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el free to use whatever language or software you want: Excel, Power BI, Python, R, etc. The quality of your analysis is more important than the language. </a:t>
            </a:r>
          </a:p>
          <a:p>
            <a:pPr marL="285750" marR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el free to propose machine learning or statistical approache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</a:p>
          <a:p>
            <a:pPr marL="285750" marR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me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ber: there is no right or wrong answer. The most important is that you organize and explain your thinking the clearest way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48420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n-US" sz="15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8420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want to understand your track of thought. For instance, tell us why you proposed a given solution or selected a language, technique or algorithm.</a:t>
            </a:r>
          </a:p>
          <a:p>
            <a:pPr marL="48420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5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nd us any file you created that may improve and base your project outcome and conclusions.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84667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ok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www.jpppt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95</TotalTime>
  <Words>322</Words>
  <Application>Microsoft Office PowerPoint</Application>
  <PresentationFormat>Custom</PresentationFormat>
  <Paragraphs>31</Paragraphs>
  <Slides>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等线</vt:lpstr>
      <vt:lpstr>Arial</vt:lpstr>
      <vt:lpstr>Calibri</vt:lpstr>
      <vt:lpstr>Courier New</vt:lpstr>
      <vt:lpstr>www.jpppt.com</vt:lpstr>
      <vt:lpstr>1_PR_BAG_PPT-master_16-9</vt:lpstr>
      <vt:lpstr>Decision Science Case</vt:lpstr>
      <vt:lpstr>Case description</vt:lpstr>
      <vt:lpstr>Case description</vt:lpstr>
      <vt:lpstr>Objective</vt:lpstr>
    </vt:vector>
  </TitlesOfParts>
  <Manager>www.freeppt7.com</Manager>
  <Company>www.freeppt7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s</dc:title>
  <dc:creator>www.freeppt7.com</dc:creator>
  <cp:keywords>www.freeppt7.com</cp:keywords>
  <dc:description>www.freeppt7.com</dc:description>
  <cp:lastModifiedBy>Marco Soares</cp:lastModifiedBy>
  <cp:revision>153</cp:revision>
  <dcterms:modified xsi:type="dcterms:W3CDTF">2023-07-14T11:3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etDate">
    <vt:lpwstr>2022-08-11T21:11:38Z</vt:lpwstr>
  </property>
  <property fmtid="{D5CDD505-2E9C-101B-9397-08002B2CF9AE}" pid="4" name="MSIP_Label_2c76c141-ac86-40e5-abf2-c6f60e474cee_Method">
    <vt:lpwstr>Standard</vt:lpwstr>
  </property>
  <property fmtid="{D5CDD505-2E9C-101B-9397-08002B2CF9AE}" pid="5" name="MSIP_Label_2c76c141-ac86-40e5-abf2-c6f60e474cee_Name">
    <vt:lpwstr>2c76c141-ac86-40e5-abf2-c6f60e474ce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ActionId">
    <vt:lpwstr>6be24bd3-4b0f-4998-acd8-a35312b99249</vt:lpwstr>
  </property>
  <property fmtid="{D5CDD505-2E9C-101B-9397-08002B2CF9AE}" pid="8" name="MSIP_Label_2c76c141-ac86-40e5-abf2-c6f60e474cee_ContentBits">
    <vt:lpwstr>2</vt:lpwstr>
  </property>
</Properties>
</file>